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6" r:id="rId2"/>
    <p:sldId id="267" r:id="rId3"/>
    <p:sldId id="293" r:id="rId4"/>
    <p:sldId id="294" r:id="rId5"/>
    <p:sldId id="295" r:id="rId6"/>
    <p:sldId id="296" r:id="rId7"/>
    <p:sldId id="297" r:id="rId8"/>
    <p:sldId id="298" r:id="rId9"/>
    <p:sldId id="299" r:id="rId10"/>
    <p:sldId id="302" r:id="rId11"/>
    <p:sldId id="300" r:id="rId12"/>
    <p:sldId id="301" r:id="rId13"/>
    <p:sldId id="303" r:id="rId14"/>
    <p:sldId id="304" r:id="rId15"/>
    <p:sldId id="306" r:id="rId16"/>
    <p:sldId id="307" r:id="rId17"/>
    <p:sldId id="308" r:id="rId18"/>
    <p:sldId id="305" r:id="rId19"/>
    <p:sldId id="309" r:id="rId20"/>
    <p:sldId id="310" r:id="rId21"/>
    <p:sldId id="311" r:id="rId22"/>
    <p:sldId id="312" r:id="rId23"/>
    <p:sldId id="292" r:id="rId24"/>
  </p:sldIdLst>
  <p:sldSz cx="1218882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5" pos="3839">
          <p15:clr>
            <a:srgbClr val="A4A3A4"/>
          </p15:clr>
        </p15:guide>
        <p15:guide id="6" pos="10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howGuides="1">
      <p:cViewPr varScale="1">
        <p:scale>
          <a:sx n="63" d="100"/>
          <a:sy n="63" d="100"/>
        </p:scale>
        <p:origin x="60" y="212"/>
      </p:cViewPr>
      <p:guideLst>
        <p:guide orient="horz" pos="2160"/>
        <p:guide pos="3839"/>
        <p:guide pos="100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63" d="100"/>
          <a:sy n="63" d="100"/>
        </p:scale>
        <p:origin x="2838" y="10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0" i="0" u="none" strike="noStrike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>
                <a:solidFill>
                  <a:schemeClr val="tx2"/>
                </a:solidFill>
              </a:rPr>
              <a:t>Calls in 2016-17</a:t>
            </a:r>
            <a:endParaRPr lang="en-US" dirty="0">
              <a:solidFill>
                <a:schemeClr val="tx2"/>
              </a:solidFill>
            </a:endParaRPr>
          </a:p>
        </c:rich>
      </c:tx>
      <c:layout>
        <c:manualLayout>
          <c:xMode val="edge"/>
          <c:yMode val="edge"/>
          <c:x val="0.27414932938213754"/>
          <c:y val="4.454912312640328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0" i="0" u="none" strike="noStrike" kern="1200" cap="all" baseline="0"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solidFill>
          <a:schemeClr val="bg2">
            <a:lumMod val="75000"/>
            <a:alpha val="27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1188889029335415E-2"/>
          <c:y val="2.1790921455437953E-2"/>
          <c:w val="0.95454924253398388"/>
          <c:h val="0.6420909405056729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rcentage </c:v>
                </c:pt>
              </c:strCache>
            </c:strRef>
          </c:tx>
          <c:spPr>
            <a:solidFill>
              <a:srgbClr val="FFC000">
                <a:alpha val="88000"/>
              </a:srgbClr>
            </a:solidFill>
            <a:ln>
              <a:solidFill>
                <a:schemeClr val="accent1">
                  <a:lumMod val="50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>
              <a:bevelT/>
              <a:bevelB/>
              <a:contourClr>
                <a:schemeClr val="accent1">
                  <a:lumMod val="50000"/>
                </a:schemeClr>
              </a:contourClr>
            </a:sp3d>
          </c:spPr>
          <c:invertIfNegative val="0"/>
          <c:dLbls>
            <c:dLbl>
              <c:idx val="0"/>
              <c:layout>
                <c:manualLayout>
                  <c:x val="-7.8145353557268794E-3"/>
                  <c:y val="-2.81323238185531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6.2516282845815037E-3"/>
                  <c:y val="-4.454284604604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5629070711453759E-3"/>
                  <c:y val="-5.62646476371063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1.2740127681024404E-2"/>
                  <c:y val="-3.56850803805774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3.1258141422908091E-3"/>
                  <c:y val="-3.51654047731915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1.5629070711453759E-3"/>
                  <c:y val="-3.75097650914042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3.1258141422907519E-3"/>
                  <c:y val="-3.2821044454978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1.5629070711453759E-3"/>
                  <c:y val="-1.40661619092766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solidFill>
                  <a:schemeClr val="lt1">
                    <a:alpha val="50000"/>
                  </a:schemeClr>
                </a:solidFill>
                <a:round/>
              </a:ln>
              <a:effectLst>
                <a:outerShdw blurRad="63500" dist="889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108 Service</c:v>
                </c:pt>
                <c:pt idx="1">
                  <c:v>Absenteeism</c:v>
                </c:pt>
                <c:pt idx="2">
                  <c:v>ASHA</c:v>
                </c:pt>
                <c:pt idx="3">
                  <c:v>Availability of Services</c:v>
                </c:pt>
                <c:pt idx="4">
                  <c:v>Cleanliness</c:v>
                </c:pt>
                <c:pt idx="5">
                  <c:v>Equipment related</c:v>
                </c:pt>
                <c:pt idx="6">
                  <c:v>Medicines</c:v>
                </c:pt>
                <c:pt idx="7">
                  <c:v>Others</c:v>
                </c:pt>
                <c:pt idx="8">
                  <c:v>Pregnant Women/JSY</c:v>
                </c:pt>
                <c:pt idx="9">
                  <c:v>Service Matters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5.7882558100539924E-2</c:v>
                </c:pt>
                <c:pt idx="1">
                  <c:v>8.2682182501089913E-2</c:v>
                </c:pt>
                <c:pt idx="2">
                  <c:v>3.6553875046111538E-2</c:v>
                </c:pt>
                <c:pt idx="3">
                  <c:v>0.19135450551661692</c:v>
                </c:pt>
                <c:pt idx="4">
                  <c:v>1.1553036654482042E-2</c:v>
                </c:pt>
                <c:pt idx="5">
                  <c:v>2.0171702605721185E-2</c:v>
                </c:pt>
                <c:pt idx="6">
                  <c:v>2.6526711157315804E-2</c:v>
                </c:pt>
                <c:pt idx="7">
                  <c:v>6.3533317683356252E-2</c:v>
                </c:pt>
                <c:pt idx="8">
                  <c:v>0.38564338173647672</c:v>
                </c:pt>
                <c:pt idx="9">
                  <c:v>0.1240987289982896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4"/>
        <c:gapDepth val="53"/>
        <c:shape val="box"/>
        <c:axId val="380561624"/>
        <c:axId val="380565936"/>
        <c:axId val="0"/>
      </c:bar3DChart>
      <c:catAx>
        <c:axId val="380561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ln>
                  <a:noFill/>
                </a:ln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0565936"/>
        <c:crosses val="autoZero"/>
        <c:auto val="1"/>
        <c:lblAlgn val="ctr"/>
        <c:lblOffset val="100"/>
        <c:noMultiLvlLbl val="0"/>
      </c:catAx>
      <c:valAx>
        <c:axId val="380565936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380561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/>
    </a:solidFill>
    <a:ln w="6350" cap="flat" cmpd="sng" algn="ctr">
      <a:solidFill>
        <a:schemeClr val="accent1"/>
      </a:solidFill>
      <a:round/>
    </a:ln>
    <a:effectLst/>
    <a:scene3d>
      <a:camera prst="orthographicFront"/>
      <a:lightRig rig="threePt" dir="t"/>
    </a:scene3d>
    <a:sp3d>
      <a:bevelT/>
    </a:sp3d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1">
  <cs:axisTitle>
    <cs:lnRef idx="0"/>
    <cs:fillRef idx="0"/>
    <cs:effectRef idx="0"/>
    <cs:fontRef idx="minor">
      <a:schemeClr val="lt1">
        <a:lumMod val="75000"/>
      </a:schemeClr>
    </cs:fontRef>
    <cs:defRPr sz="1197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1197" kern="1200"/>
  </cs:categoryAxis>
  <cs:chartArea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6350" cap="flat" cmpd="sng" algn="ctr">
        <a:solidFill>
          <a:schemeClr val="dk1">
            <a:tint val="75000"/>
          </a:schemeClr>
        </a:solidFill>
        <a:round/>
      </a:ln>
    </cs:spPr>
    <cs:defRPr sz="133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30000"/>
        </a:schemeClr>
      </a:solidFill>
      <a:ln>
        <a:solidFill>
          <a:schemeClr val="lt1">
            <a:alpha val="50000"/>
          </a:schemeClr>
        </a:solidFill>
        <a:round/>
      </a:ln>
      <a:effectLst>
        <a:outerShdw blurRad="63500" dist="88900" dir="2700000" algn="tl" rotWithShape="0">
          <a:prstClr val="black">
            <a:alpha val="40000"/>
          </a:prstClr>
        </a:outerShdw>
      </a:effectLst>
    </cs:spPr>
    <cs:defRPr sz="1197" b="1" i="0" u="none" strike="noStrike" kern="1200" baseline="0"/>
  </cs:dataLabel>
  <cs:dataLabelCallout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30000"/>
        </a:schemeClr>
      </a:solidFill>
      <a:ln>
        <a:solidFill>
          <a:schemeClr val="lt1">
            <a:alpha val="50000"/>
          </a:schemeClr>
        </a:solidFill>
        <a:round/>
      </a:ln>
      <a:effectLst>
        <a:outerShdw blurRad="63500" dist="88900" dir="2700000" algn="tl" rotWithShape="0">
          <a:prstClr val="black">
            <a:alpha val="40000"/>
          </a:prstClr>
        </a:outerShdw>
      </a:effectLst>
    </cs:spPr>
    <cs:defRPr sz="1197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>
          <a:alpha val="88000"/>
        </a:schemeClr>
      </a:solidFill>
      <a:ln>
        <a:solidFill>
          <a:schemeClr val="phClr">
            <a:lumMod val="50000"/>
          </a:schemeClr>
        </a:solidFill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>
          <a:alpha val="88000"/>
        </a:schemeClr>
      </a:solidFill>
      <a:ln>
        <a:solidFill>
          <a:schemeClr val="phClr">
            <a:lumMod val="50000"/>
          </a:schemeClr>
        </a:solidFill>
      </a:ln>
      <a:scene3d>
        <a:camera prst="orthographicFront"/>
        <a:lightRig rig="threePt" dir="t"/>
      </a:scene3d>
      <a:sp3d prstMaterial="flat"/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dk1">
            <a:lumMod val="75000"/>
            <a:lumOff val="25000"/>
          </a:schemeClr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solidFill>
        <a:schemeClr val="bg2">
          <a:lumMod val="75000"/>
          <a:alpha val="27000"/>
        </a:schemeClr>
      </a:solidFill>
      <a:sp3d/>
    </cs:spPr>
  </cs:floor>
  <cs:gridlineMajor>
    <cs:lnRef idx="0"/>
    <cs:fillRef idx="0"/>
    <cs:effectRef idx="0"/>
    <cs:fontRef idx="minor">
      <a:schemeClr val="tx1"/>
    </cs:fontRef>
    <cs:spPr>
      <a:ln w="9525">
        <a:solidFill>
          <a:schemeClr val="lt1">
            <a:lumMod val="50000"/>
          </a:schemeClr>
        </a:solidFill>
      </a:ln>
    </cs:spPr>
  </cs:gridlineMajor>
  <cs:gridlineMinor>
    <cs:lnRef idx="0"/>
    <cs:fillRef idx="0"/>
    <cs:effectRef idx="0"/>
    <cs:fontRef idx="minor">
      <a:schemeClr val="tx1"/>
    </cs:fontRef>
    <cs:spPr>
      <a:ln w="9525">
        <a:solidFill>
          <a:schemeClr val="lt1">
            <a:lumMod val="40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/>
    </cs:fontRef>
    <cs:defRPr sz="2200" b="0" kern="1200" cap="all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sp3d/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ED4F509-1FEF-452F-B2B1-A658933BB574}" type="doc">
      <dgm:prSet loTypeId="urn:microsoft.com/office/officeart/2005/8/layout/hList1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IN"/>
        </a:p>
      </dgm:t>
    </dgm:pt>
    <dgm:pt modelId="{BD7E770C-D460-4D6D-AC0E-2BAD7D30F609}">
      <dgm:prSet phldrT="[Text]"/>
      <dgm:spPr/>
      <dgm:t>
        <a:bodyPr/>
        <a:lstStyle/>
        <a:p>
          <a:r>
            <a:rPr lang="en-IN" dirty="0" smtClean="0"/>
            <a:t>Block</a:t>
          </a:r>
          <a:endParaRPr lang="en-IN" dirty="0"/>
        </a:p>
      </dgm:t>
    </dgm:pt>
    <dgm:pt modelId="{F688CCE0-D559-4ADE-BEB6-762D504C7D98}" type="parTrans" cxnId="{03BE062C-49CA-4D9B-8C43-E843534D3C3E}">
      <dgm:prSet/>
      <dgm:spPr/>
      <dgm:t>
        <a:bodyPr/>
        <a:lstStyle/>
        <a:p>
          <a:endParaRPr lang="en-IN"/>
        </a:p>
      </dgm:t>
    </dgm:pt>
    <dgm:pt modelId="{58C0589B-1D4C-4740-8ED5-6B3244E984FA}" type="sibTrans" cxnId="{03BE062C-49CA-4D9B-8C43-E843534D3C3E}">
      <dgm:prSet/>
      <dgm:spPr/>
      <dgm:t>
        <a:bodyPr/>
        <a:lstStyle/>
        <a:p>
          <a:endParaRPr lang="en-IN"/>
        </a:p>
      </dgm:t>
    </dgm:pt>
    <dgm:pt modelId="{780A7409-5B07-4AD8-888A-D805B8715CD7}">
      <dgm:prSet phldrT="[Text]" custT="1"/>
      <dgm:spPr/>
      <dgm:t>
        <a:bodyPr/>
        <a:lstStyle/>
        <a:p>
          <a:r>
            <a:rPr lang="en-IN" sz="2800" dirty="0" smtClean="0"/>
            <a:t>Back tracking at block level meetings</a:t>
          </a:r>
          <a:endParaRPr lang="en-IN" sz="2800" dirty="0"/>
        </a:p>
      </dgm:t>
    </dgm:pt>
    <dgm:pt modelId="{FAD1AFE2-81A0-411E-87CF-1310BEFE2424}" type="parTrans" cxnId="{F9FF6723-2D81-45DF-A1E7-40D276987C8C}">
      <dgm:prSet/>
      <dgm:spPr/>
      <dgm:t>
        <a:bodyPr/>
        <a:lstStyle/>
        <a:p>
          <a:endParaRPr lang="en-IN"/>
        </a:p>
      </dgm:t>
    </dgm:pt>
    <dgm:pt modelId="{3F914B2C-7F38-48BC-8A5C-166D0AF48EB8}" type="sibTrans" cxnId="{F9FF6723-2D81-45DF-A1E7-40D276987C8C}">
      <dgm:prSet/>
      <dgm:spPr/>
      <dgm:t>
        <a:bodyPr/>
        <a:lstStyle/>
        <a:p>
          <a:endParaRPr lang="en-IN"/>
        </a:p>
      </dgm:t>
    </dgm:pt>
    <dgm:pt modelId="{EAEED958-1D97-43FD-A58A-3C90DA1936D0}">
      <dgm:prSet phldrT="[Text]" custT="1"/>
      <dgm:spPr/>
      <dgm:t>
        <a:bodyPr/>
        <a:lstStyle/>
        <a:p>
          <a:r>
            <a:rPr lang="en-IN" sz="2800" dirty="0" smtClean="0"/>
            <a:t>Training in core skills</a:t>
          </a:r>
          <a:endParaRPr lang="en-IN" sz="2800" dirty="0"/>
        </a:p>
      </dgm:t>
    </dgm:pt>
    <dgm:pt modelId="{37F923A3-515C-4543-9168-9A596AA894FE}" type="parTrans" cxnId="{5DB7E418-E976-4DA7-A172-756FDFF7B344}">
      <dgm:prSet/>
      <dgm:spPr/>
      <dgm:t>
        <a:bodyPr/>
        <a:lstStyle/>
        <a:p>
          <a:endParaRPr lang="en-IN"/>
        </a:p>
      </dgm:t>
    </dgm:pt>
    <dgm:pt modelId="{12D7062A-0A62-470C-ADB8-B8CA702A6237}" type="sibTrans" cxnId="{5DB7E418-E976-4DA7-A172-756FDFF7B344}">
      <dgm:prSet/>
      <dgm:spPr/>
      <dgm:t>
        <a:bodyPr/>
        <a:lstStyle/>
        <a:p>
          <a:endParaRPr lang="en-IN"/>
        </a:p>
      </dgm:t>
    </dgm:pt>
    <dgm:pt modelId="{22D8602F-BD4F-4694-B055-F91A2D1C8CB1}">
      <dgm:prSet phldrT="[Text]"/>
      <dgm:spPr/>
      <dgm:t>
        <a:bodyPr/>
        <a:lstStyle/>
        <a:p>
          <a:r>
            <a:rPr lang="en-IN" dirty="0" smtClean="0"/>
            <a:t>District	</a:t>
          </a:r>
          <a:endParaRPr lang="en-IN" dirty="0"/>
        </a:p>
      </dgm:t>
    </dgm:pt>
    <dgm:pt modelId="{09232760-EB7B-43FE-B139-B775C0FF00F6}" type="parTrans" cxnId="{174B01F8-DD2D-4254-A8DA-A165F0666FB6}">
      <dgm:prSet/>
      <dgm:spPr/>
      <dgm:t>
        <a:bodyPr/>
        <a:lstStyle/>
        <a:p>
          <a:endParaRPr lang="en-IN"/>
        </a:p>
      </dgm:t>
    </dgm:pt>
    <dgm:pt modelId="{48FBF9BD-C436-40D6-899C-60DB94435620}" type="sibTrans" cxnId="{174B01F8-DD2D-4254-A8DA-A165F0666FB6}">
      <dgm:prSet/>
      <dgm:spPr/>
      <dgm:t>
        <a:bodyPr/>
        <a:lstStyle/>
        <a:p>
          <a:endParaRPr lang="en-IN"/>
        </a:p>
      </dgm:t>
    </dgm:pt>
    <dgm:pt modelId="{9770B663-CCA4-441B-B362-79B8C9F15BFD}">
      <dgm:prSet phldrT="[Text]" custT="1"/>
      <dgm:spPr/>
      <dgm:t>
        <a:bodyPr/>
        <a:lstStyle/>
        <a:p>
          <a:r>
            <a:rPr lang="en-IN" sz="2800" dirty="0" smtClean="0"/>
            <a:t>Case listing from Labour room register</a:t>
          </a:r>
          <a:endParaRPr lang="en-IN" sz="2800" dirty="0"/>
        </a:p>
      </dgm:t>
    </dgm:pt>
    <dgm:pt modelId="{44140C32-935C-476F-86AD-9CB4111E76F9}" type="parTrans" cxnId="{1D61CCE6-54D6-4716-ADFA-1EBF70683660}">
      <dgm:prSet/>
      <dgm:spPr/>
      <dgm:t>
        <a:bodyPr/>
        <a:lstStyle/>
        <a:p>
          <a:endParaRPr lang="en-IN"/>
        </a:p>
      </dgm:t>
    </dgm:pt>
    <dgm:pt modelId="{78FD0E5A-D0CC-43E6-9AE8-6B6C0214FA2C}" type="sibTrans" cxnId="{1D61CCE6-54D6-4716-ADFA-1EBF70683660}">
      <dgm:prSet/>
      <dgm:spPr/>
      <dgm:t>
        <a:bodyPr/>
        <a:lstStyle/>
        <a:p>
          <a:endParaRPr lang="en-IN"/>
        </a:p>
      </dgm:t>
    </dgm:pt>
    <dgm:pt modelId="{AF136365-CFDB-4C9C-A23F-06D7BF8DCABA}">
      <dgm:prSet phldrT="[Text]" custT="1"/>
      <dgm:spPr/>
      <dgm:t>
        <a:bodyPr/>
        <a:lstStyle/>
        <a:p>
          <a:r>
            <a:rPr lang="en-IN" sz="2800" dirty="0" smtClean="0"/>
            <a:t>Backtracking supervisors</a:t>
          </a:r>
          <a:endParaRPr lang="en-IN" sz="2800" dirty="0"/>
        </a:p>
      </dgm:t>
    </dgm:pt>
    <dgm:pt modelId="{B2738240-DD06-4E4E-B5E2-5F08315DA4CE}" type="parTrans" cxnId="{5457499F-AF4D-40E5-AB4E-507485818B02}">
      <dgm:prSet/>
      <dgm:spPr/>
      <dgm:t>
        <a:bodyPr/>
        <a:lstStyle/>
        <a:p>
          <a:endParaRPr lang="en-IN"/>
        </a:p>
      </dgm:t>
    </dgm:pt>
    <dgm:pt modelId="{58FD01D1-9A92-4B33-AF47-457CFB141116}" type="sibTrans" cxnId="{5457499F-AF4D-40E5-AB4E-507485818B02}">
      <dgm:prSet/>
      <dgm:spPr/>
      <dgm:t>
        <a:bodyPr/>
        <a:lstStyle/>
        <a:p>
          <a:endParaRPr lang="en-IN"/>
        </a:p>
      </dgm:t>
    </dgm:pt>
    <dgm:pt modelId="{2377003F-4A28-4DC3-95A8-10F688931387}">
      <dgm:prSet phldrT="[Text]"/>
      <dgm:spPr/>
      <dgm:t>
        <a:bodyPr/>
        <a:lstStyle/>
        <a:p>
          <a:r>
            <a:rPr lang="en-IN" dirty="0" smtClean="0"/>
            <a:t>State</a:t>
          </a:r>
          <a:endParaRPr lang="en-IN" dirty="0"/>
        </a:p>
      </dgm:t>
    </dgm:pt>
    <dgm:pt modelId="{4CCEBA64-A745-4E5C-AE05-7B0F246B137D}" type="parTrans" cxnId="{6DA857C6-AFE0-46FF-8761-AF6850770D4A}">
      <dgm:prSet/>
      <dgm:spPr/>
      <dgm:t>
        <a:bodyPr/>
        <a:lstStyle/>
        <a:p>
          <a:endParaRPr lang="en-IN"/>
        </a:p>
      </dgm:t>
    </dgm:pt>
    <dgm:pt modelId="{F848B98E-0CA0-4AA6-B43C-2DDB29797DDF}" type="sibTrans" cxnId="{6DA857C6-AFE0-46FF-8761-AF6850770D4A}">
      <dgm:prSet/>
      <dgm:spPr/>
      <dgm:t>
        <a:bodyPr/>
        <a:lstStyle/>
        <a:p>
          <a:endParaRPr lang="en-IN"/>
        </a:p>
      </dgm:t>
    </dgm:pt>
    <dgm:pt modelId="{91146AEA-99CE-47C6-B016-9CC4238F2C98}">
      <dgm:prSet phldrT="[Text]" custT="1"/>
      <dgm:spPr/>
      <dgm:t>
        <a:bodyPr/>
        <a:lstStyle/>
        <a:p>
          <a:r>
            <a:rPr lang="en-IN" sz="2800" dirty="0" smtClean="0"/>
            <a:t>Identification of negligent or severe cases</a:t>
          </a:r>
          <a:endParaRPr lang="en-IN" sz="2800" dirty="0"/>
        </a:p>
      </dgm:t>
    </dgm:pt>
    <dgm:pt modelId="{2FDCB8B4-DF06-4B5B-A0E7-188AF7EB352E}" type="parTrans" cxnId="{FF22515C-4929-4FF1-A58B-606B5F8C4992}">
      <dgm:prSet/>
      <dgm:spPr/>
      <dgm:t>
        <a:bodyPr/>
        <a:lstStyle/>
        <a:p>
          <a:endParaRPr lang="en-IN"/>
        </a:p>
      </dgm:t>
    </dgm:pt>
    <dgm:pt modelId="{064C734D-A018-4BD2-8507-291AE6F7BE0C}" type="sibTrans" cxnId="{FF22515C-4929-4FF1-A58B-606B5F8C4992}">
      <dgm:prSet/>
      <dgm:spPr/>
      <dgm:t>
        <a:bodyPr/>
        <a:lstStyle/>
        <a:p>
          <a:endParaRPr lang="en-IN"/>
        </a:p>
      </dgm:t>
    </dgm:pt>
    <dgm:pt modelId="{90807D02-3BD6-4B31-893E-30E3C42CDC58}">
      <dgm:prSet phldrT="[Text]" custT="1"/>
      <dgm:spPr/>
      <dgm:t>
        <a:bodyPr/>
        <a:lstStyle/>
        <a:p>
          <a:r>
            <a:rPr lang="en-IN" sz="2800" dirty="0" smtClean="0"/>
            <a:t>Training at state level</a:t>
          </a:r>
          <a:endParaRPr lang="en-IN" sz="2800" dirty="0"/>
        </a:p>
      </dgm:t>
    </dgm:pt>
    <dgm:pt modelId="{297FF7E0-8CB0-4402-A0B0-F2E1D9886036}" type="parTrans" cxnId="{5901450A-BFCE-4062-970C-E88D816A0468}">
      <dgm:prSet/>
      <dgm:spPr/>
      <dgm:t>
        <a:bodyPr/>
        <a:lstStyle/>
        <a:p>
          <a:endParaRPr lang="en-IN"/>
        </a:p>
      </dgm:t>
    </dgm:pt>
    <dgm:pt modelId="{E6B257CE-1475-4A32-873A-1F060673C7F6}" type="sibTrans" cxnId="{5901450A-BFCE-4062-970C-E88D816A0468}">
      <dgm:prSet/>
      <dgm:spPr/>
      <dgm:t>
        <a:bodyPr/>
        <a:lstStyle/>
        <a:p>
          <a:endParaRPr lang="en-IN"/>
        </a:p>
      </dgm:t>
    </dgm:pt>
    <dgm:pt modelId="{1EB1F918-540B-48B9-853C-EACD1D3D1632}">
      <dgm:prSet phldrT="[Text]" custT="1"/>
      <dgm:spPr/>
      <dgm:t>
        <a:bodyPr/>
        <a:lstStyle/>
        <a:p>
          <a:r>
            <a:rPr lang="en-IN" sz="2800" dirty="0" smtClean="0"/>
            <a:t>Training supervisors and ANMs</a:t>
          </a:r>
          <a:endParaRPr lang="en-IN" sz="2800" dirty="0"/>
        </a:p>
      </dgm:t>
    </dgm:pt>
    <dgm:pt modelId="{49064046-2E29-4955-8499-A81018CDCEC7}" type="parTrans" cxnId="{43490B5E-DC84-4F1E-9B50-3A00938665BE}">
      <dgm:prSet/>
      <dgm:spPr/>
      <dgm:t>
        <a:bodyPr/>
        <a:lstStyle/>
        <a:p>
          <a:endParaRPr lang="en-IN"/>
        </a:p>
      </dgm:t>
    </dgm:pt>
    <dgm:pt modelId="{9AE96458-2683-4E79-9DE7-3D1F48310A50}" type="sibTrans" cxnId="{43490B5E-DC84-4F1E-9B50-3A00938665BE}">
      <dgm:prSet/>
      <dgm:spPr/>
      <dgm:t>
        <a:bodyPr/>
        <a:lstStyle/>
        <a:p>
          <a:endParaRPr lang="en-IN"/>
        </a:p>
      </dgm:t>
    </dgm:pt>
    <dgm:pt modelId="{82FB36B3-2688-4DAD-8C51-95986FDE8FD1}">
      <dgm:prSet phldrT="[Text]" custT="1"/>
      <dgm:spPr/>
      <dgm:t>
        <a:bodyPr/>
        <a:lstStyle/>
        <a:p>
          <a:r>
            <a:rPr lang="en-IN" sz="2800" dirty="0" smtClean="0"/>
            <a:t>Monitoring by CHAI post training</a:t>
          </a:r>
          <a:endParaRPr lang="en-IN" sz="2800" dirty="0"/>
        </a:p>
      </dgm:t>
    </dgm:pt>
    <dgm:pt modelId="{357287E6-02DC-480F-AAC7-7609BDECE777}" type="parTrans" cxnId="{2C600513-B96C-4322-BAA1-EB5124A23942}">
      <dgm:prSet/>
      <dgm:spPr/>
      <dgm:t>
        <a:bodyPr/>
        <a:lstStyle/>
        <a:p>
          <a:endParaRPr lang="en-IN"/>
        </a:p>
      </dgm:t>
    </dgm:pt>
    <dgm:pt modelId="{492E177B-9FD8-48DC-BD60-EEFEB8774E32}" type="sibTrans" cxnId="{2C600513-B96C-4322-BAA1-EB5124A23942}">
      <dgm:prSet/>
      <dgm:spPr/>
      <dgm:t>
        <a:bodyPr/>
        <a:lstStyle/>
        <a:p>
          <a:endParaRPr lang="en-IN"/>
        </a:p>
      </dgm:t>
    </dgm:pt>
    <dgm:pt modelId="{B85AD89B-02A2-46FD-8998-FD8435C5579B}" type="pres">
      <dgm:prSet presAssocID="{9ED4F509-1FEF-452F-B2B1-A658933BB574}" presName="Name0" presStyleCnt="0">
        <dgm:presLayoutVars>
          <dgm:dir/>
          <dgm:animLvl val="lvl"/>
          <dgm:resizeHandles val="exact"/>
        </dgm:presLayoutVars>
      </dgm:prSet>
      <dgm:spPr/>
    </dgm:pt>
    <dgm:pt modelId="{DE31DE48-46E4-449D-B49E-9859FB0045BD}" type="pres">
      <dgm:prSet presAssocID="{BD7E770C-D460-4D6D-AC0E-2BAD7D30F609}" presName="composite" presStyleCnt="0"/>
      <dgm:spPr/>
    </dgm:pt>
    <dgm:pt modelId="{9D1B745B-F5CF-4EFB-B85A-BC85805EC63A}" type="pres">
      <dgm:prSet presAssocID="{BD7E770C-D460-4D6D-AC0E-2BAD7D30F609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F26DE2B0-AA19-404F-A90F-C49FE7C1608D}" type="pres">
      <dgm:prSet presAssocID="{BD7E770C-D460-4D6D-AC0E-2BAD7D30F609}" presName="desTx" presStyleLbl="alignAccFollowNode1" presStyleIdx="0" presStyleCnt="3">
        <dgm:presLayoutVars>
          <dgm:bulletEnabled val="1"/>
        </dgm:presLayoutVars>
      </dgm:prSet>
      <dgm:spPr/>
    </dgm:pt>
    <dgm:pt modelId="{56335E9C-56ED-49B0-8580-5D663012812D}" type="pres">
      <dgm:prSet presAssocID="{58C0589B-1D4C-4740-8ED5-6B3244E984FA}" presName="space" presStyleCnt="0"/>
      <dgm:spPr/>
    </dgm:pt>
    <dgm:pt modelId="{023608DE-F761-4C2A-BDD0-9A521BEB5659}" type="pres">
      <dgm:prSet presAssocID="{22D8602F-BD4F-4694-B055-F91A2D1C8CB1}" presName="composite" presStyleCnt="0"/>
      <dgm:spPr/>
    </dgm:pt>
    <dgm:pt modelId="{B3168D9C-26DE-43CA-93D9-215B983C951C}" type="pres">
      <dgm:prSet presAssocID="{22D8602F-BD4F-4694-B055-F91A2D1C8CB1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5C31F05D-E083-4B8B-84C2-C33550FD988C}" type="pres">
      <dgm:prSet presAssocID="{22D8602F-BD4F-4694-B055-F91A2D1C8CB1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C46CE4A-2B8D-4F8D-94DD-8361F15EC656}" type="pres">
      <dgm:prSet presAssocID="{48FBF9BD-C436-40D6-899C-60DB94435620}" presName="space" presStyleCnt="0"/>
      <dgm:spPr/>
    </dgm:pt>
    <dgm:pt modelId="{BC4437B0-92A7-4DA5-9217-D4ACD9D1E242}" type="pres">
      <dgm:prSet presAssocID="{2377003F-4A28-4DC3-95A8-10F688931387}" presName="composite" presStyleCnt="0"/>
      <dgm:spPr/>
    </dgm:pt>
    <dgm:pt modelId="{7B5046B1-AECF-49E1-A5FC-029D4D8403DA}" type="pres">
      <dgm:prSet presAssocID="{2377003F-4A28-4DC3-95A8-10F688931387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5A35A89-106A-4D8D-8EA1-0E922DB9A93B}" type="pres">
      <dgm:prSet presAssocID="{2377003F-4A28-4DC3-95A8-10F688931387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43490B5E-DC84-4F1E-9B50-3A00938665BE}" srcId="{22D8602F-BD4F-4694-B055-F91A2D1C8CB1}" destId="{1EB1F918-540B-48B9-853C-EACD1D3D1632}" srcOrd="2" destOrd="0" parTransId="{49064046-2E29-4955-8499-A81018CDCEC7}" sibTransId="{9AE96458-2683-4E79-9DE7-3D1F48310A50}"/>
    <dgm:cxn modelId="{FF22515C-4929-4FF1-A58B-606B5F8C4992}" srcId="{2377003F-4A28-4DC3-95A8-10F688931387}" destId="{91146AEA-99CE-47C6-B016-9CC4238F2C98}" srcOrd="0" destOrd="0" parTransId="{2FDCB8B4-DF06-4B5B-A0E7-188AF7EB352E}" sibTransId="{064C734D-A018-4BD2-8507-291AE6F7BE0C}"/>
    <dgm:cxn modelId="{932A3250-99B7-4658-A999-D2C766EF75E9}" type="presOf" srcId="{2377003F-4A28-4DC3-95A8-10F688931387}" destId="{7B5046B1-AECF-49E1-A5FC-029D4D8403DA}" srcOrd="0" destOrd="0" presId="urn:microsoft.com/office/officeart/2005/8/layout/hList1"/>
    <dgm:cxn modelId="{A959C416-EE1C-47D6-95DD-0A9D165C0486}" type="presOf" srcId="{780A7409-5B07-4AD8-888A-D805B8715CD7}" destId="{F26DE2B0-AA19-404F-A90F-C49FE7C1608D}" srcOrd="0" destOrd="0" presId="urn:microsoft.com/office/officeart/2005/8/layout/hList1"/>
    <dgm:cxn modelId="{42CB266A-CCB6-46D4-ADC4-DEAC1922F01E}" type="presOf" srcId="{90807D02-3BD6-4B31-893E-30E3C42CDC58}" destId="{35A35A89-106A-4D8D-8EA1-0E922DB9A93B}" srcOrd="0" destOrd="1" presId="urn:microsoft.com/office/officeart/2005/8/layout/hList1"/>
    <dgm:cxn modelId="{ADA245C9-206F-425C-AE33-D69AFEB6DF79}" type="presOf" srcId="{EAEED958-1D97-43FD-A58A-3C90DA1936D0}" destId="{F26DE2B0-AA19-404F-A90F-C49FE7C1608D}" srcOrd="0" destOrd="1" presId="urn:microsoft.com/office/officeart/2005/8/layout/hList1"/>
    <dgm:cxn modelId="{F9FF6723-2D81-45DF-A1E7-40D276987C8C}" srcId="{BD7E770C-D460-4D6D-AC0E-2BAD7D30F609}" destId="{780A7409-5B07-4AD8-888A-D805B8715CD7}" srcOrd="0" destOrd="0" parTransId="{FAD1AFE2-81A0-411E-87CF-1310BEFE2424}" sibTransId="{3F914B2C-7F38-48BC-8A5C-166D0AF48EB8}"/>
    <dgm:cxn modelId="{CCB498F5-764C-491F-8EE8-2EA8F0E53296}" type="presOf" srcId="{1EB1F918-540B-48B9-853C-EACD1D3D1632}" destId="{5C31F05D-E083-4B8B-84C2-C33550FD988C}" srcOrd="0" destOrd="2" presId="urn:microsoft.com/office/officeart/2005/8/layout/hList1"/>
    <dgm:cxn modelId="{925EB8BD-5E69-47AD-85B8-E894445A55AF}" type="presOf" srcId="{91146AEA-99CE-47C6-B016-9CC4238F2C98}" destId="{35A35A89-106A-4D8D-8EA1-0E922DB9A93B}" srcOrd="0" destOrd="0" presId="urn:microsoft.com/office/officeart/2005/8/layout/hList1"/>
    <dgm:cxn modelId="{174B01F8-DD2D-4254-A8DA-A165F0666FB6}" srcId="{9ED4F509-1FEF-452F-B2B1-A658933BB574}" destId="{22D8602F-BD4F-4694-B055-F91A2D1C8CB1}" srcOrd="1" destOrd="0" parTransId="{09232760-EB7B-43FE-B139-B775C0FF00F6}" sibTransId="{48FBF9BD-C436-40D6-899C-60DB94435620}"/>
    <dgm:cxn modelId="{5DCC9926-E52E-4E48-A530-3EC742382D92}" type="presOf" srcId="{9770B663-CCA4-441B-B362-79B8C9F15BFD}" destId="{5C31F05D-E083-4B8B-84C2-C33550FD988C}" srcOrd="0" destOrd="0" presId="urn:microsoft.com/office/officeart/2005/8/layout/hList1"/>
    <dgm:cxn modelId="{509F4E89-B197-4337-97C4-969642920E60}" type="presOf" srcId="{BD7E770C-D460-4D6D-AC0E-2BAD7D30F609}" destId="{9D1B745B-F5CF-4EFB-B85A-BC85805EC63A}" srcOrd="0" destOrd="0" presId="urn:microsoft.com/office/officeart/2005/8/layout/hList1"/>
    <dgm:cxn modelId="{1D61CCE6-54D6-4716-ADFA-1EBF70683660}" srcId="{22D8602F-BD4F-4694-B055-F91A2D1C8CB1}" destId="{9770B663-CCA4-441B-B362-79B8C9F15BFD}" srcOrd="0" destOrd="0" parTransId="{44140C32-935C-476F-86AD-9CB4111E76F9}" sibTransId="{78FD0E5A-D0CC-43E6-9AE8-6B6C0214FA2C}"/>
    <dgm:cxn modelId="{5901450A-BFCE-4062-970C-E88D816A0468}" srcId="{2377003F-4A28-4DC3-95A8-10F688931387}" destId="{90807D02-3BD6-4B31-893E-30E3C42CDC58}" srcOrd="1" destOrd="0" parTransId="{297FF7E0-8CB0-4402-A0B0-F2E1D9886036}" sibTransId="{E6B257CE-1475-4A32-873A-1F060673C7F6}"/>
    <dgm:cxn modelId="{14A95369-ABB6-4EFD-BAD7-54104C251EDF}" type="presOf" srcId="{82FB36B3-2688-4DAD-8C51-95986FDE8FD1}" destId="{35A35A89-106A-4D8D-8EA1-0E922DB9A93B}" srcOrd="0" destOrd="2" presId="urn:microsoft.com/office/officeart/2005/8/layout/hList1"/>
    <dgm:cxn modelId="{5DB7E418-E976-4DA7-A172-756FDFF7B344}" srcId="{BD7E770C-D460-4D6D-AC0E-2BAD7D30F609}" destId="{EAEED958-1D97-43FD-A58A-3C90DA1936D0}" srcOrd="1" destOrd="0" parTransId="{37F923A3-515C-4543-9168-9A596AA894FE}" sibTransId="{12D7062A-0A62-470C-ADB8-B8CA702A6237}"/>
    <dgm:cxn modelId="{5457499F-AF4D-40E5-AB4E-507485818B02}" srcId="{22D8602F-BD4F-4694-B055-F91A2D1C8CB1}" destId="{AF136365-CFDB-4C9C-A23F-06D7BF8DCABA}" srcOrd="1" destOrd="0" parTransId="{B2738240-DD06-4E4E-B5E2-5F08315DA4CE}" sibTransId="{58FD01D1-9A92-4B33-AF47-457CFB141116}"/>
    <dgm:cxn modelId="{03BE062C-49CA-4D9B-8C43-E843534D3C3E}" srcId="{9ED4F509-1FEF-452F-B2B1-A658933BB574}" destId="{BD7E770C-D460-4D6D-AC0E-2BAD7D30F609}" srcOrd="0" destOrd="0" parTransId="{F688CCE0-D559-4ADE-BEB6-762D504C7D98}" sibTransId="{58C0589B-1D4C-4740-8ED5-6B3244E984FA}"/>
    <dgm:cxn modelId="{6DA857C6-AFE0-46FF-8761-AF6850770D4A}" srcId="{9ED4F509-1FEF-452F-B2B1-A658933BB574}" destId="{2377003F-4A28-4DC3-95A8-10F688931387}" srcOrd="2" destOrd="0" parTransId="{4CCEBA64-A745-4E5C-AE05-7B0F246B137D}" sibTransId="{F848B98E-0CA0-4AA6-B43C-2DDB29797DDF}"/>
    <dgm:cxn modelId="{D3AF3A9B-E6AB-4358-8F73-5626776502A4}" type="presOf" srcId="{9ED4F509-1FEF-452F-B2B1-A658933BB574}" destId="{B85AD89B-02A2-46FD-8998-FD8435C5579B}" srcOrd="0" destOrd="0" presId="urn:microsoft.com/office/officeart/2005/8/layout/hList1"/>
    <dgm:cxn modelId="{F043A8B4-CE5C-4D56-9421-8769A8FF2BDD}" type="presOf" srcId="{22D8602F-BD4F-4694-B055-F91A2D1C8CB1}" destId="{B3168D9C-26DE-43CA-93D9-215B983C951C}" srcOrd="0" destOrd="0" presId="urn:microsoft.com/office/officeart/2005/8/layout/hList1"/>
    <dgm:cxn modelId="{2C600513-B96C-4322-BAA1-EB5124A23942}" srcId="{2377003F-4A28-4DC3-95A8-10F688931387}" destId="{82FB36B3-2688-4DAD-8C51-95986FDE8FD1}" srcOrd="2" destOrd="0" parTransId="{357287E6-02DC-480F-AAC7-7609BDECE777}" sibTransId="{492E177B-9FD8-48DC-BD60-EEFEB8774E32}"/>
    <dgm:cxn modelId="{A09CDA0F-193D-44DC-8603-DBC07D590E8A}" type="presOf" srcId="{AF136365-CFDB-4C9C-A23F-06D7BF8DCABA}" destId="{5C31F05D-E083-4B8B-84C2-C33550FD988C}" srcOrd="0" destOrd="1" presId="urn:microsoft.com/office/officeart/2005/8/layout/hList1"/>
    <dgm:cxn modelId="{D8146D19-5B82-4DF9-80E8-EA3030C72725}" type="presParOf" srcId="{B85AD89B-02A2-46FD-8998-FD8435C5579B}" destId="{DE31DE48-46E4-449D-B49E-9859FB0045BD}" srcOrd="0" destOrd="0" presId="urn:microsoft.com/office/officeart/2005/8/layout/hList1"/>
    <dgm:cxn modelId="{076FCB74-76C3-4C5A-95A7-DBD4DAECBD00}" type="presParOf" srcId="{DE31DE48-46E4-449D-B49E-9859FB0045BD}" destId="{9D1B745B-F5CF-4EFB-B85A-BC85805EC63A}" srcOrd="0" destOrd="0" presId="urn:microsoft.com/office/officeart/2005/8/layout/hList1"/>
    <dgm:cxn modelId="{707E0D8A-D41F-4731-89CC-C9D1F9526524}" type="presParOf" srcId="{DE31DE48-46E4-449D-B49E-9859FB0045BD}" destId="{F26DE2B0-AA19-404F-A90F-C49FE7C1608D}" srcOrd="1" destOrd="0" presId="urn:microsoft.com/office/officeart/2005/8/layout/hList1"/>
    <dgm:cxn modelId="{88094361-10D1-465A-AEAF-AF5297C3B176}" type="presParOf" srcId="{B85AD89B-02A2-46FD-8998-FD8435C5579B}" destId="{56335E9C-56ED-49B0-8580-5D663012812D}" srcOrd="1" destOrd="0" presId="urn:microsoft.com/office/officeart/2005/8/layout/hList1"/>
    <dgm:cxn modelId="{2F322727-D017-4D7C-BB34-1F6A653A1508}" type="presParOf" srcId="{B85AD89B-02A2-46FD-8998-FD8435C5579B}" destId="{023608DE-F761-4C2A-BDD0-9A521BEB5659}" srcOrd="2" destOrd="0" presId="urn:microsoft.com/office/officeart/2005/8/layout/hList1"/>
    <dgm:cxn modelId="{98385DCC-C1EA-4A9B-AEF9-9BA67A23EA88}" type="presParOf" srcId="{023608DE-F761-4C2A-BDD0-9A521BEB5659}" destId="{B3168D9C-26DE-43CA-93D9-215B983C951C}" srcOrd="0" destOrd="0" presId="urn:microsoft.com/office/officeart/2005/8/layout/hList1"/>
    <dgm:cxn modelId="{AF25EEC2-7D6F-4D72-AD9D-87EA0EE2D8B1}" type="presParOf" srcId="{023608DE-F761-4C2A-BDD0-9A521BEB5659}" destId="{5C31F05D-E083-4B8B-84C2-C33550FD988C}" srcOrd="1" destOrd="0" presId="urn:microsoft.com/office/officeart/2005/8/layout/hList1"/>
    <dgm:cxn modelId="{A24997BA-7054-4AD4-8D2C-2858E7FBB1A3}" type="presParOf" srcId="{B85AD89B-02A2-46FD-8998-FD8435C5579B}" destId="{1C46CE4A-2B8D-4F8D-94DD-8361F15EC656}" srcOrd="3" destOrd="0" presId="urn:microsoft.com/office/officeart/2005/8/layout/hList1"/>
    <dgm:cxn modelId="{B9CE614B-DEED-4868-8EF8-4389E8CBED30}" type="presParOf" srcId="{B85AD89B-02A2-46FD-8998-FD8435C5579B}" destId="{BC4437B0-92A7-4DA5-9217-D4ACD9D1E242}" srcOrd="4" destOrd="0" presId="urn:microsoft.com/office/officeart/2005/8/layout/hList1"/>
    <dgm:cxn modelId="{6E17B942-F4DC-4817-9BB5-AE56224235F7}" type="presParOf" srcId="{BC4437B0-92A7-4DA5-9217-D4ACD9D1E242}" destId="{7B5046B1-AECF-49E1-A5FC-029D4D8403DA}" srcOrd="0" destOrd="0" presId="urn:microsoft.com/office/officeart/2005/8/layout/hList1"/>
    <dgm:cxn modelId="{0CE8EE2C-47EC-4C80-AB89-A4B95B6A92C9}" type="presParOf" srcId="{BC4437B0-92A7-4DA5-9217-D4ACD9D1E242}" destId="{35A35A89-106A-4D8D-8EA1-0E922DB9A9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1B745B-F5CF-4EFB-B85A-BC85805EC63A}">
      <dsp:nvSpPr>
        <dsp:cNvPr id="0" name=""/>
        <dsp:cNvSpPr/>
      </dsp:nvSpPr>
      <dsp:spPr>
        <a:xfrm>
          <a:off x="3095" y="14550"/>
          <a:ext cx="3018234" cy="1008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8920" tIns="142240" rIns="248920" bIns="14224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3500" kern="1200" dirty="0" smtClean="0"/>
            <a:t>Block</a:t>
          </a:r>
          <a:endParaRPr lang="en-IN" sz="3500" kern="1200" dirty="0"/>
        </a:p>
      </dsp:txBody>
      <dsp:txXfrm>
        <a:off x="3095" y="14550"/>
        <a:ext cx="3018234" cy="1008000"/>
      </dsp:txXfrm>
    </dsp:sp>
    <dsp:sp modelId="{F26DE2B0-AA19-404F-A90F-C49FE7C1608D}">
      <dsp:nvSpPr>
        <dsp:cNvPr id="0" name=""/>
        <dsp:cNvSpPr/>
      </dsp:nvSpPr>
      <dsp:spPr>
        <a:xfrm>
          <a:off x="3095" y="1022550"/>
          <a:ext cx="3018234" cy="3458699"/>
        </a:xfrm>
        <a:prstGeom prst="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2800" kern="1200" dirty="0" smtClean="0"/>
            <a:t>Back tracking at block level meetings</a:t>
          </a:r>
          <a:endParaRPr lang="en-IN" sz="2800" kern="1200" dirty="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2800" kern="1200" dirty="0" smtClean="0"/>
            <a:t>Training in core skills</a:t>
          </a:r>
          <a:endParaRPr lang="en-IN" sz="2800" kern="1200" dirty="0"/>
        </a:p>
      </dsp:txBody>
      <dsp:txXfrm>
        <a:off x="3095" y="1022550"/>
        <a:ext cx="3018234" cy="3458699"/>
      </dsp:txXfrm>
    </dsp:sp>
    <dsp:sp modelId="{B3168D9C-26DE-43CA-93D9-215B983C951C}">
      <dsp:nvSpPr>
        <dsp:cNvPr id="0" name=""/>
        <dsp:cNvSpPr/>
      </dsp:nvSpPr>
      <dsp:spPr>
        <a:xfrm>
          <a:off x="3443882" y="14550"/>
          <a:ext cx="3018234" cy="1008000"/>
        </a:xfrm>
        <a:prstGeom prst="rect">
          <a:avLst/>
        </a:prstGeom>
        <a:solidFill>
          <a:schemeClr val="accent4">
            <a:hueOff val="8861780"/>
            <a:satOff val="-26886"/>
            <a:lumOff val="883"/>
            <a:alphaOff val="0"/>
          </a:schemeClr>
        </a:solidFill>
        <a:ln w="12700" cap="flat" cmpd="sng" algn="ctr">
          <a:solidFill>
            <a:schemeClr val="accent4">
              <a:hueOff val="8861780"/>
              <a:satOff val="-26886"/>
              <a:lumOff val="88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8920" tIns="142240" rIns="248920" bIns="14224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3500" kern="1200" dirty="0" smtClean="0"/>
            <a:t>District	</a:t>
          </a:r>
          <a:endParaRPr lang="en-IN" sz="3500" kern="1200" dirty="0"/>
        </a:p>
      </dsp:txBody>
      <dsp:txXfrm>
        <a:off x="3443882" y="14550"/>
        <a:ext cx="3018234" cy="1008000"/>
      </dsp:txXfrm>
    </dsp:sp>
    <dsp:sp modelId="{5C31F05D-E083-4B8B-84C2-C33550FD988C}">
      <dsp:nvSpPr>
        <dsp:cNvPr id="0" name=""/>
        <dsp:cNvSpPr/>
      </dsp:nvSpPr>
      <dsp:spPr>
        <a:xfrm>
          <a:off x="3443882" y="1022550"/>
          <a:ext cx="3018234" cy="3458699"/>
        </a:xfrm>
        <a:prstGeom prst="rect">
          <a:avLst/>
        </a:prstGeom>
        <a:solidFill>
          <a:schemeClr val="accent4">
            <a:tint val="40000"/>
            <a:alpha val="90000"/>
            <a:hueOff val="9087619"/>
            <a:satOff val="-24929"/>
            <a:lumOff val="-405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9087619"/>
              <a:satOff val="-24929"/>
              <a:lumOff val="-40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2800" kern="1200" dirty="0" smtClean="0"/>
            <a:t>Case listing from Labour room register</a:t>
          </a:r>
          <a:endParaRPr lang="en-IN" sz="2800" kern="1200" dirty="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2800" kern="1200" dirty="0" smtClean="0"/>
            <a:t>Backtracking supervisors</a:t>
          </a:r>
          <a:endParaRPr lang="en-IN" sz="2800" kern="1200" dirty="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2800" kern="1200" dirty="0" smtClean="0"/>
            <a:t>Training supervisors and ANMs</a:t>
          </a:r>
          <a:endParaRPr lang="en-IN" sz="2800" kern="1200" dirty="0"/>
        </a:p>
      </dsp:txBody>
      <dsp:txXfrm>
        <a:off x="3443882" y="1022550"/>
        <a:ext cx="3018234" cy="3458699"/>
      </dsp:txXfrm>
    </dsp:sp>
    <dsp:sp modelId="{7B5046B1-AECF-49E1-A5FC-029D4D8403DA}">
      <dsp:nvSpPr>
        <dsp:cNvPr id="0" name=""/>
        <dsp:cNvSpPr/>
      </dsp:nvSpPr>
      <dsp:spPr>
        <a:xfrm>
          <a:off x="6884670" y="14550"/>
          <a:ext cx="3018234" cy="1008000"/>
        </a:xfrm>
        <a:prstGeom prst="rect">
          <a:avLst/>
        </a:prstGeom>
        <a:solidFill>
          <a:schemeClr val="accent4">
            <a:hueOff val="17723560"/>
            <a:satOff val="-53772"/>
            <a:lumOff val="1765"/>
            <a:alphaOff val="0"/>
          </a:schemeClr>
        </a:solidFill>
        <a:ln w="12700" cap="flat" cmpd="sng" algn="ctr">
          <a:solidFill>
            <a:schemeClr val="accent4">
              <a:hueOff val="17723560"/>
              <a:satOff val="-53772"/>
              <a:lumOff val="176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8920" tIns="142240" rIns="248920" bIns="14224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3500" kern="1200" dirty="0" smtClean="0"/>
            <a:t>State</a:t>
          </a:r>
          <a:endParaRPr lang="en-IN" sz="3500" kern="1200" dirty="0"/>
        </a:p>
      </dsp:txBody>
      <dsp:txXfrm>
        <a:off x="6884670" y="14550"/>
        <a:ext cx="3018234" cy="1008000"/>
      </dsp:txXfrm>
    </dsp:sp>
    <dsp:sp modelId="{35A35A89-106A-4D8D-8EA1-0E922DB9A93B}">
      <dsp:nvSpPr>
        <dsp:cNvPr id="0" name=""/>
        <dsp:cNvSpPr/>
      </dsp:nvSpPr>
      <dsp:spPr>
        <a:xfrm>
          <a:off x="6884670" y="1022550"/>
          <a:ext cx="3018234" cy="3458699"/>
        </a:xfrm>
        <a:prstGeom prst="rect">
          <a:avLst/>
        </a:prstGeom>
        <a:solidFill>
          <a:schemeClr val="accent4">
            <a:tint val="40000"/>
            <a:alpha val="90000"/>
            <a:hueOff val="18175237"/>
            <a:satOff val="-49857"/>
            <a:lumOff val="-811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18175237"/>
              <a:satOff val="-49857"/>
              <a:lumOff val="-81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2800" kern="1200" dirty="0" smtClean="0"/>
            <a:t>Identification of negligent or severe cases</a:t>
          </a:r>
          <a:endParaRPr lang="en-IN" sz="2800" kern="1200" dirty="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2800" kern="1200" dirty="0" smtClean="0"/>
            <a:t>Training at state level</a:t>
          </a:r>
          <a:endParaRPr lang="en-IN" sz="2800" kern="1200" dirty="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IN" sz="2800" kern="1200" dirty="0" smtClean="0"/>
            <a:t>Monitoring by CHAI post training</a:t>
          </a:r>
          <a:endParaRPr lang="en-IN" sz="2800" kern="1200" dirty="0"/>
        </a:p>
      </dsp:txBody>
      <dsp:txXfrm>
        <a:off x="6884670" y="1022550"/>
        <a:ext cx="3018234" cy="34586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B7646E-8811-423A-9C42-2CBFADA00A96}" type="datetimeFigureOut">
              <a:rPr lang="en-US" smtClean="0"/>
              <a:pPr/>
              <a:t>7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360E59-1627-4404-ACC5-51C744AB0F2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2254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D677E230-58DD-43ED-96A1-552DDAB53532}" type="datetimeFigureOut">
              <a:rPr lang="en-US" smtClean="0"/>
              <a:pPr/>
              <a:t>7/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841221E5-7225-48EB-A4EE-420E7BFCF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6699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2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2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2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2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579384" y="5638800"/>
            <a:ext cx="609441" cy="1219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sp>
        <p:nvSpPr>
          <p:cNvPr id="9" name="Rectangle 8"/>
          <p:cNvSpPr/>
          <p:nvPr/>
        </p:nvSpPr>
        <p:spPr>
          <a:xfrm>
            <a:off x="11274663" y="5638800"/>
            <a:ext cx="304721" cy="12192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sp>
        <p:nvSpPr>
          <p:cNvPr id="10" name="Rectangle 9"/>
          <p:cNvSpPr/>
          <p:nvPr/>
        </p:nvSpPr>
        <p:spPr>
          <a:xfrm>
            <a:off x="1218883" y="0"/>
            <a:ext cx="60944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1218883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sp>
        <p:nvSpPr>
          <p:cNvPr id="12" name="Rectangle 11"/>
          <p:cNvSpPr/>
          <p:nvPr/>
        </p:nvSpPr>
        <p:spPr>
          <a:xfrm>
            <a:off x="0" y="5638800"/>
            <a:ext cx="12188825" cy="1219200"/>
          </a:xfrm>
          <a:prstGeom prst="rect">
            <a:avLst/>
          </a:prstGeom>
          <a:solidFill>
            <a:schemeClr val="accent1">
              <a:lumMod val="7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cxnSp>
        <p:nvCxnSpPr>
          <p:cNvPr id="13" name="Straight Connector 12"/>
          <p:cNvCxnSpPr/>
          <p:nvPr/>
        </p:nvCxnSpPr>
        <p:spPr bwMode="white">
          <a:xfrm>
            <a:off x="11573293" y="5638800"/>
            <a:ext cx="0" cy="1219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white">
          <a:xfrm>
            <a:off x="1218884" y="0"/>
            <a:ext cx="0" cy="6858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white">
          <a:xfrm>
            <a:off x="0" y="5631204"/>
            <a:ext cx="182832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28669" y="1600200"/>
            <a:ext cx="8329031" cy="2680127"/>
          </a:xfr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28669" y="4344915"/>
            <a:ext cx="7516442" cy="111608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C6F8EA-316C-41DE-B9A4-EDCC3A85ED9A}" type="datetimeFigureOut">
              <a:rPr lang="en-US"/>
              <a:pPr/>
              <a:t>7/6/2017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1BBB0-96F0-4077-A278-0F3FB5C104D3}" type="slidenum">
              <a:rPr/>
              <a:pPr/>
              <a:t>‹#›</a:t>
            </a:fld>
            <a:endParaRPr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7665" y="533400"/>
            <a:ext cx="1231037" cy="121920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6" y="5733744"/>
            <a:ext cx="1185010" cy="1019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955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C6F8EA-316C-41DE-B9A4-EDCC3A85ED9A}" type="datetimeFigureOut">
              <a:rPr lang="en-US"/>
              <a:pPr/>
              <a:t>7/6/2017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1BBB0-96F0-4077-A278-0F3FB5C104D3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0880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1884104" y="0"/>
            <a:ext cx="304721" cy="6858000"/>
          </a:xfrm>
          <a:prstGeom prst="rect">
            <a:avLst/>
          </a:prstGeom>
          <a:solidFill>
            <a:schemeClr val="accent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lvl="0" algn="ctr"/>
            <a:endParaRPr/>
          </a:p>
        </p:txBody>
      </p:sp>
      <p:sp>
        <p:nvSpPr>
          <p:cNvPr id="8" name="Rectangle 7"/>
          <p:cNvSpPr/>
          <p:nvPr/>
        </p:nvSpPr>
        <p:spPr>
          <a:xfrm>
            <a:off x="617143" y="0"/>
            <a:ext cx="60944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609441" cy="6858000"/>
          </a:xfrm>
          <a:prstGeom prst="rect">
            <a:avLst/>
          </a:prstGeom>
          <a:solidFill>
            <a:schemeClr val="accent1">
              <a:lumMod val="75000"/>
              <a:alpha val="8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sp>
        <p:nvSpPr>
          <p:cNvPr id="10" name="Rectangle 9"/>
          <p:cNvSpPr/>
          <p:nvPr/>
        </p:nvSpPr>
        <p:spPr>
          <a:xfrm>
            <a:off x="617143" y="736219"/>
            <a:ext cx="609441" cy="609600"/>
          </a:xfrm>
          <a:prstGeom prst="rect">
            <a:avLst/>
          </a:prstGeom>
          <a:solidFill>
            <a:schemeClr val="accent1">
              <a:lumMod val="50000"/>
              <a:alpha val="7490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cxnSp>
        <p:nvCxnSpPr>
          <p:cNvPr id="11" name="Straight Connector 10"/>
          <p:cNvCxnSpPr/>
          <p:nvPr/>
        </p:nvCxnSpPr>
        <p:spPr bwMode="white">
          <a:xfrm>
            <a:off x="617143" y="736219"/>
            <a:ext cx="60944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white">
          <a:xfrm>
            <a:off x="617143" y="1345819"/>
            <a:ext cx="60944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"/>
          <p:cNvSpPr>
            <a:spLocks/>
          </p:cNvSpPr>
          <p:nvPr/>
        </p:nvSpPr>
        <p:spPr bwMode="white">
          <a:xfrm rot="5400000">
            <a:off x="756095" y="898102"/>
            <a:ext cx="336023" cy="294097"/>
          </a:xfrm>
          <a:custGeom>
            <a:avLst/>
            <a:gdLst>
              <a:gd name="T0" fmla="*/ 411 w 426"/>
              <a:gd name="T1" fmla="*/ 0 h 372"/>
              <a:gd name="T2" fmla="*/ 90 w 426"/>
              <a:gd name="T3" fmla="*/ 0 h 372"/>
              <a:gd name="T4" fmla="*/ 3 w 426"/>
              <a:gd name="T5" fmla="*/ 64 h 372"/>
              <a:gd name="T6" fmla="*/ 12 w 426"/>
              <a:gd name="T7" fmla="*/ 83 h 372"/>
              <a:gd name="T8" fmla="*/ 17 w 426"/>
              <a:gd name="T9" fmla="*/ 83 h 372"/>
              <a:gd name="T10" fmla="*/ 31 w 426"/>
              <a:gd name="T11" fmla="*/ 73 h 372"/>
              <a:gd name="T12" fmla="*/ 90 w 426"/>
              <a:gd name="T13" fmla="*/ 30 h 372"/>
              <a:gd name="T14" fmla="*/ 131 w 426"/>
              <a:gd name="T15" fmla="*/ 30 h 372"/>
              <a:gd name="T16" fmla="*/ 61 w 426"/>
              <a:gd name="T17" fmla="*/ 334 h 372"/>
              <a:gd name="T18" fmla="*/ 61 w 426"/>
              <a:gd name="T19" fmla="*/ 355 h 372"/>
              <a:gd name="T20" fmla="*/ 72 w 426"/>
              <a:gd name="T21" fmla="*/ 359 h 372"/>
              <a:gd name="T22" fmla="*/ 83 w 426"/>
              <a:gd name="T23" fmla="*/ 355 h 372"/>
              <a:gd name="T24" fmla="*/ 161 w 426"/>
              <a:gd name="T25" fmla="*/ 30 h 372"/>
              <a:gd name="T26" fmla="*/ 272 w 426"/>
              <a:gd name="T27" fmla="*/ 30 h 372"/>
              <a:gd name="T28" fmla="*/ 253 w 426"/>
              <a:gd name="T29" fmla="*/ 270 h 372"/>
              <a:gd name="T30" fmla="*/ 277 w 426"/>
              <a:gd name="T31" fmla="*/ 355 h 372"/>
              <a:gd name="T32" fmla="*/ 322 w 426"/>
              <a:gd name="T33" fmla="*/ 372 h 372"/>
              <a:gd name="T34" fmla="*/ 335 w 426"/>
              <a:gd name="T35" fmla="*/ 371 h 372"/>
              <a:gd name="T36" fmla="*/ 417 w 426"/>
              <a:gd name="T37" fmla="*/ 280 h 372"/>
              <a:gd name="T38" fmla="*/ 406 w 426"/>
              <a:gd name="T39" fmla="*/ 262 h 372"/>
              <a:gd name="T40" fmla="*/ 388 w 426"/>
              <a:gd name="T41" fmla="*/ 273 h 372"/>
              <a:gd name="T42" fmla="*/ 331 w 426"/>
              <a:gd name="T43" fmla="*/ 341 h 372"/>
              <a:gd name="T44" fmla="*/ 298 w 426"/>
              <a:gd name="T45" fmla="*/ 333 h 372"/>
              <a:gd name="T46" fmla="*/ 283 w 426"/>
              <a:gd name="T47" fmla="*/ 272 h 372"/>
              <a:gd name="T48" fmla="*/ 302 w 426"/>
              <a:gd name="T49" fmla="*/ 30 h 372"/>
              <a:gd name="T50" fmla="*/ 411 w 426"/>
              <a:gd name="T51" fmla="*/ 30 h 372"/>
              <a:gd name="T52" fmla="*/ 426 w 426"/>
              <a:gd name="T53" fmla="*/ 15 h 372"/>
              <a:gd name="T54" fmla="*/ 411 w 426"/>
              <a:gd name="T55" fmla="*/ 0 h 3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426" h="372">
                <a:moveTo>
                  <a:pt x="411" y="0"/>
                </a:moveTo>
                <a:cubicBezTo>
                  <a:pt x="90" y="0"/>
                  <a:pt x="90" y="0"/>
                  <a:pt x="90" y="0"/>
                </a:cubicBezTo>
                <a:cubicBezTo>
                  <a:pt x="25" y="0"/>
                  <a:pt x="4" y="61"/>
                  <a:pt x="3" y="64"/>
                </a:cubicBezTo>
                <a:cubicBezTo>
                  <a:pt x="0" y="71"/>
                  <a:pt x="4" y="80"/>
                  <a:pt x="12" y="83"/>
                </a:cubicBezTo>
                <a:cubicBezTo>
                  <a:pt x="14" y="83"/>
                  <a:pt x="15" y="83"/>
                  <a:pt x="17" y="83"/>
                </a:cubicBezTo>
                <a:cubicBezTo>
                  <a:pt x="23" y="83"/>
                  <a:pt x="29" y="80"/>
                  <a:pt x="31" y="73"/>
                </a:cubicBezTo>
                <a:cubicBezTo>
                  <a:pt x="31" y="73"/>
                  <a:pt x="46" y="30"/>
                  <a:pt x="90" y="30"/>
                </a:cubicBezTo>
                <a:cubicBezTo>
                  <a:pt x="131" y="30"/>
                  <a:pt x="131" y="30"/>
                  <a:pt x="131" y="30"/>
                </a:cubicBezTo>
                <a:cubicBezTo>
                  <a:pt x="129" y="83"/>
                  <a:pt x="118" y="274"/>
                  <a:pt x="61" y="334"/>
                </a:cubicBezTo>
                <a:cubicBezTo>
                  <a:pt x="55" y="340"/>
                  <a:pt x="55" y="350"/>
                  <a:pt x="61" y="355"/>
                </a:cubicBezTo>
                <a:cubicBezTo>
                  <a:pt x="64" y="358"/>
                  <a:pt x="68" y="359"/>
                  <a:pt x="72" y="359"/>
                </a:cubicBezTo>
                <a:cubicBezTo>
                  <a:pt x="76" y="359"/>
                  <a:pt x="80" y="358"/>
                  <a:pt x="83" y="355"/>
                </a:cubicBezTo>
                <a:cubicBezTo>
                  <a:pt x="148" y="286"/>
                  <a:pt x="159" y="84"/>
                  <a:pt x="161" y="30"/>
                </a:cubicBezTo>
                <a:cubicBezTo>
                  <a:pt x="272" y="30"/>
                  <a:pt x="272" y="30"/>
                  <a:pt x="272" y="30"/>
                </a:cubicBezTo>
                <a:cubicBezTo>
                  <a:pt x="253" y="270"/>
                  <a:pt x="253" y="270"/>
                  <a:pt x="253" y="270"/>
                </a:cubicBezTo>
                <a:cubicBezTo>
                  <a:pt x="253" y="272"/>
                  <a:pt x="248" y="327"/>
                  <a:pt x="277" y="355"/>
                </a:cubicBezTo>
                <a:cubicBezTo>
                  <a:pt x="289" y="366"/>
                  <a:pt x="304" y="372"/>
                  <a:pt x="322" y="372"/>
                </a:cubicBezTo>
                <a:cubicBezTo>
                  <a:pt x="326" y="372"/>
                  <a:pt x="330" y="372"/>
                  <a:pt x="335" y="371"/>
                </a:cubicBezTo>
                <a:cubicBezTo>
                  <a:pt x="398" y="362"/>
                  <a:pt x="416" y="283"/>
                  <a:pt x="417" y="280"/>
                </a:cubicBezTo>
                <a:cubicBezTo>
                  <a:pt x="419" y="271"/>
                  <a:pt x="414" y="264"/>
                  <a:pt x="406" y="262"/>
                </a:cubicBezTo>
                <a:cubicBezTo>
                  <a:pt x="398" y="260"/>
                  <a:pt x="390" y="265"/>
                  <a:pt x="388" y="273"/>
                </a:cubicBezTo>
                <a:cubicBezTo>
                  <a:pt x="388" y="274"/>
                  <a:pt x="373" y="335"/>
                  <a:pt x="331" y="341"/>
                </a:cubicBezTo>
                <a:cubicBezTo>
                  <a:pt x="316" y="343"/>
                  <a:pt x="306" y="341"/>
                  <a:pt x="298" y="333"/>
                </a:cubicBezTo>
                <a:cubicBezTo>
                  <a:pt x="282" y="318"/>
                  <a:pt x="282" y="284"/>
                  <a:pt x="283" y="272"/>
                </a:cubicBezTo>
                <a:cubicBezTo>
                  <a:pt x="302" y="30"/>
                  <a:pt x="302" y="30"/>
                  <a:pt x="302" y="30"/>
                </a:cubicBezTo>
                <a:cubicBezTo>
                  <a:pt x="411" y="30"/>
                  <a:pt x="411" y="30"/>
                  <a:pt x="411" y="30"/>
                </a:cubicBezTo>
                <a:cubicBezTo>
                  <a:pt x="419" y="30"/>
                  <a:pt x="426" y="24"/>
                  <a:pt x="426" y="15"/>
                </a:cubicBezTo>
                <a:cubicBezTo>
                  <a:pt x="426" y="7"/>
                  <a:pt x="419" y="0"/>
                  <a:pt x="41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/>
          </a:p>
        </p:txBody>
      </p:sp>
      <p:cxnSp>
        <p:nvCxnSpPr>
          <p:cNvPr id="14" name="Straight Connector 13"/>
          <p:cNvCxnSpPr/>
          <p:nvPr/>
        </p:nvCxnSpPr>
        <p:spPr bwMode="white">
          <a:xfrm>
            <a:off x="617143" y="0"/>
            <a:ext cx="0" cy="6858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9612" y="685800"/>
            <a:ext cx="1787526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98613" y="685800"/>
            <a:ext cx="7848599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C6F8EA-316C-41DE-B9A4-EDCC3A85ED9A}" type="datetimeFigureOut">
              <a:rPr lang="en-US"/>
              <a:pPr/>
              <a:t>7/6/2017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1BBB0-96F0-4077-A278-0F3FB5C104D3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1281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3436" y="168835"/>
            <a:ext cx="9782801" cy="89796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82883" y="1295400"/>
            <a:ext cx="9782801" cy="457200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C6F8EA-316C-41DE-B9A4-EDCC3A85ED9A}" type="datetimeFigureOut">
              <a:rPr lang="en-US"/>
              <a:pPr/>
              <a:t>7/6/2017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1BBB0-96F0-4077-A278-0F3FB5C104D3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85532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11579384" y="5638800"/>
            <a:ext cx="609441" cy="1219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sp>
        <p:nvSpPr>
          <p:cNvPr id="20" name="Rectangle 19"/>
          <p:cNvSpPr/>
          <p:nvPr/>
        </p:nvSpPr>
        <p:spPr>
          <a:xfrm>
            <a:off x="11274663" y="5638800"/>
            <a:ext cx="304721" cy="12192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sp>
        <p:nvSpPr>
          <p:cNvPr id="24" name="Rectangle 23"/>
          <p:cNvSpPr/>
          <p:nvPr/>
        </p:nvSpPr>
        <p:spPr>
          <a:xfrm>
            <a:off x="1216152" y="5638800"/>
            <a:ext cx="609441" cy="1219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sp>
        <p:nvSpPr>
          <p:cNvPr id="21" name="Rectangle 20"/>
          <p:cNvSpPr/>
          <p:nvPr/>
        </p:nvSpPr>
        <p:spPr>
          <a:xfrm>
            <a:off x="0" y="5638800"/>
            <a:ext cx="12188825" cy="1219200"/>
          </a:xfrm>
          <a:prstGeom prst="rect">
            <a:avLst/>
          </a:prstGeom>
          <a:solidFill>
            <a:schemeClr val="accent1">
              <a:lumMod val="7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cxnSp>
        <p:nvCxnSpPr>
          <p:cNvPr id="22" name="Straight Connector 21"/>
          <p:cNvCxnSpPr/>
          <p:nvPr/>
        </p:nvCxnSpPr>
        <p:spPr bwMode="white">
          <a:xfrm>
            <a:off x="11573293" y="5638800"/>
            <a:ext cx="0" cy="1219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 userDrawn="1"/>
        </p:nvSpPr>
        <p:spPr>
          <a:xfrm>
            <a:off x="0" y="5643132"/>
            <a:ext cx="1216152" cy="1214868"/>
          </a:xfrm>
          <a:prstGeom prst="rect">
            <a:avLst/>
          </a:prstGeom>
          <a:solidFill>
            <a:schemeClr val="accent1">
              <a:lumMod val="50000"/>
              <a:alpha val="7490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sp>
        <p:nvSpPr>
          <p:cNvPr id="18" name="Pi"/>
          <p:cNvSpPr>
            <a:spLocks/>
          </p:cNvSpPr>
          <p:nvPr/>
        </p:nvSpPr>
        <p:spPr bwMode="white">
          <a:xfrm>
            <a:off x="276462" y="6032500"/>
            <a:ext cx="593189" cy="519176"/>
          </a:xfrm>
          <a:custGeom>
            <a:avLst/>
            <a:gdLst>
              <a:gd name="T0" fmla="*/ 411 w 426"/>
              <a:gd name="T1" fmla="*/ 0 h 372"/>
              <a:gd name="T2" fmla="*/ 90 w 426"/>
              <a:gd name="T3" fmla="*/ 0 h 372"/>
              <a:gd name="T4" fmla="*/ 3 w 426"/>
              <a:gd name="T5" fmla="*/ 64 h 372"/>
              <a:gd name="T6" fmla="*/ 12 w 426"/>
              <a:gd name="T7" fmla="*/ 83 h 372"/>
              <a:gd name="T8" fmla="*/ 17 w 426"/>
              <a:gd name="T9" fmla="*/ 83 h 372"/>
              <a:gd name="T10" fmla="*/ 31 w 426"/>
              <a:gd name="T11" fmla="*/ 73 h 372"/>
              <a:gd name="T12" fmla="*/ 90 w 426"/>
              <a:gd name="T13" fmla="*/ 30 h 372"/>
              <a:gd name="T14" fmla="*/ 131 w 426"/>
              <a:gd name="T15" fmla="*/ 30 h 372"/>
              <a:gd name="T16" fmla="*/ 61 w 426"/>
              <a:gd name="T17" fmla="*/ 334 h 372"/>
              <a:gd name="T18" fmla="*/ 61 w 426"/>
              <a:gd name="T19" fmla="*/ 355 h 372"/>
              <a:gd name="T20" fmla="*/ 72 w 426"/>
              <a:gd name="T21" fmla="*/ 359 h 372"/>
              <a:gd name="T22" fmla="*/ 83 w 426"/>
              <a:gd name="T23" fmla="*/ 355 h 372"/>
              <a:gd name="T24" fmla="*/ 161 w 426"/>
              <a:gd name="T25" fmla="*/ 30 h 372"/>
              <a:gd name="T26" fmla="*/ 272 w 426"/>
              <a:gd name="T27" fmla="*/ 30 h 372"/>
              <a:gd name="T28" fmla="*/ 253 w 426"/>
              <a:gd name="T29" fmla="*/ 270 h 372"/>
              <a:gd name="T30" fmla="*/ 277 w 426"/>
              <a:gd name="T31" fmla="*/ 355 h 372"/>
              <a:gd name="T32" fmla="*/ 322 w 426"/>
              <a:gd name="T33" fmla="*/ 372 h 372"/>
              <a:gd name="T34" fmla="*/ 335 w 426"/>
              <a:gd name="T35" fmla="*/ 371 h 372"/>
              <a:gd name="T36" fmla="*/ 417 w 426"/>
              <a:gd name="T37" fmla="*/ 280 h 372"/>
              <a:gd name="T38" fmla="*/ 406 w 426"/>
              <a:gd name="T39" fmla="*/ 262 h 372"/>
              <a:gd name="T40" fmla="*/ 388 w 426"/>
              <a:gd name="T41" fmla="*/ 273 h 372"/>
              <a:gd name="T42" fmla="*/ 331 w 426"/>
              <a:gd name="T43" fmla="*/ 341 h 372"/>
              <a:gd name="T44" fmla="*/ 298 w 426"/>
              <a:gd name="T45" fmla="*/ 333 h 372"/>
              <a:gd name="T46" fmla="*/ 283 w 426"/>
              <a:gd name="T47" fmla="*/ 272 h 372"/>
              <a:gd name="T48" fmla="*/ 302 w 426"/>
              <a:gd name="T49" fmla="*/ 30 h 372"/>
              <a:gd name="T50" fmla="*/ 411 w 426"/>
              <a:gd name="T51" fmla="*/ 30 h 372"/>
              <a:gd name="T52" fmla="*/ 426 w 426"/>
              <a:gd name="T53" fmla="*/ 15 h 372"/>
              <a:gd name="T54" fmla="*/ 411 w 426"/>
              <a:gd name="T55" fmla="*/ 0 h 3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426" h="372">
                <a:moveTo>
                  <a:pt x="411" y="0"/>
                </a:moveTo>
                <a:cubicBezTo>
                  <a:pt x="90" y="0"/>
                  <a:pt x="90" y="0"/>
                  <a:pt x="90" y="0"/>
                </a:cubicBezTo>
                <a:cubicBezTo>
                  <a:pt x="25" y="0"/>
                  <a:pt x="4" y="61"/>
                  <a:pt x="3" y="64"/>
                </a:cubicBezTo>
                <a:cubicBezTo>
                  <a:pt x="0" y="71"/>
                  <a:pt x="4" y="80"/>
                  <a:pt x="12" y="83"/>
                </a:cubicBezTo>
                <a:cubicBezTo>
                  <a:pt x="14" y="83"/>
                  <a:pt x="15" y="83"/>
                  <a:pt x="17" y="83"/>
                </a:cubicBezTo>
                <a:cubicBezTo>
                  <a:pt x="23" y="83"/>
                  <a:pt x="29" y="80"/>
                  <a:pt x="31" y="73"/>
                </a:cubicBezTo>
                <a:cubicBezTo>
                  <a:pt x="31" y="73"/>
                  <a:pt x="46" y="30"/>
                  <a:pt x="90" y="30"/>
                </a:cubicBezTo>
                <a:cubicBezTo>
                  <a:pt x="131" y="30"/>
                  <a:pt x="131" y="30"/>
                  <a:pt x="131" y="30"/>
                </a:cubicBezTo>
                <a:cubicBezTo>
                  <a:pt x="129" y="83"/>
                  <a:pt x="118" y="274"/>
                  <a:pt x="61" y="334"/>
                </a:cubicBezTo>
                <a:cubicBezTo>
                  <a:pt x="55" y="340"/>
                  <a:pt x="55" y="350"/>
                  <a:pt x="61" y="355"/>
                </a:cubicBezTo>
                <a:cubicBezTo>
                  <a:pt x="64" y="358"/>
                  <a:pt x="68" y="359"/>
                  <a:pt x="72" y="359"/>
                </a:cubicBezTo>
                <a:cubicBezTo>
                  <a:pt x="76" y="359"/>
                  <a:pt x="80" y="358"/>
                  <a:pt x="83" y="355"/>
                </a:cubicBezTo>
                <a:cubicBezTo>
                  <a:pt x="148" y="286"/>
                  <a:pt x="159" y="84"/>
                  <a:pt x="161" y="30"/>
                </a:cubicBezTo>
                <a:cubicBezTo>
                  <a:pt x="272" y="30"/>
                  <a:pt x="272" y="30"/>
                  <a:pt x="272" y="30"/>
                </a:cubicBezTo>
                <a:cubicBezTo>
                  <a:pt x="253" y="270"/>
                  <a:pt x="253" y="270"/>
                  <a:pt x="253" y="270"/>
                </a:cubicBezTo>
                <a:cubicBezTo>
                  <a:pt x="253" y="272"/>
                  <a:pt x="248" y="327"/>
                  <a:pt x="277" y="355"/>
                </a:cubicBezTo>
                <a:cubicBezTo>
                  <a:pt x="289" y="366"/>
                  <a:pt x="304" y="372"/>
                  <a:pt x="322" y="372"/>
                </a:cubicBezTo>
                <a:cubicBezTo>
                  <a:pt x="326" y="372"/>
                  <a:pt x="330" y="372"/>
                  <a:pt x="335" y="371"/>
                </a:cubicBezTo>
                <a:cubicBezTo>
                  <a:pt x="398" y="362"/>
                  <a:pt x="416" y="283"/>
                  <a:pt x="417" y="280"/>
                </a:cubicBezTo>
                <a:cubicBezTo>
                  <a:pt x="419" y="271"/>
                  <a:pt x="414" y="264"/>
                  <a:pt x="406" y="262"/>
                </a:cubicBezTo>
                <a:cubicBezTo>
                  <a:pt x="398" y="260"/>
                  <a:pt x="390" y="265"/>
                  <a:pt x="388" y="273"/>
                </a:cubicBezTo>
                <a:cubicBezTo>
                  <a:pt x="388" y="274"/>
                  <a:pt x="373" y="335"/>
                  <a:pt x="331" y="341"/>
                </a:cubicBezTo>
                <a:cubicBezTo>
                  <a:pt x="316" y="343"/>
                  <a:pt x="306" y="341"/>
                  <a:pt x="298" y="333"/>
                </a:cubicBezTo>
                <a:cubicBezTo>
                  <a:pt x="282" y="318"/>
                  <a:pt x="282" y="284"/>
                  <a:pt x="283" y="272"/>
                </a:cubicBezTo>
                <a:cubicBezTo>
                  <a:pt x="302" y="30"/>
                  <a:pt x="302" y="30"/>
                  <a:pt x="302" y="30"/>
                </a:cubicBezTo>
                <a:cubicBezTo>
                  <a:pt x="411" y="30"/>
                  <a:pt x="411" y="30"/>
                  <a:pt x="411" y="30"/>
                </a:cubicBezTo>
                <a:cubicBezTo>
                  <a:pt x="419" y="30"/>
                  <a:pt x="426" y="24"/>
                  <a:pt x="426" y="15"/>
                </a:cubicBezTo>
                <a:cubicBezTo>
                  <a:pt x="426" y="7"/>
                  <a:pt x="419" y="0"/>
                  <a:pt x="411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  <a:extLst/>
        </p:spPr>
        <p:txBody>
          <a:bodyPr vert="horz" wrap="square" lIns="121899" tIns="60949" rIns="121899" bIns="60949" numCol="1" anchor="t" anchorCtr="0" compatLnSpc="1">
            <a:prstTxWarp prst="textNoShape">
              <a:avLst/>
            </a:prstTxWarp>
          </a:bodyPr>
          <a:lstStyle/>
          <a:p>
            <a:endParaRPr/>
          </a:p>
        </p:txBody>
      </p:sp>
      <p:cxnSp>
        <p:nvCxnSpPr>
          <p:cNvPr id="23" name="Straight Connector 22"/>
          <p:cNvCxnSpPr/>
          <p:nvPr/>
        </p:nvCxnSpPr>
        <p:spPr bwMode="white">
          <a:xfrm>
            <a:off x="1216152" y="5638800"/>
            <a:ext cx="0" cy="12192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11579384" y="0"/>
            <a:ext cx="609441" cy="60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sp>
        <p:nvSpPr>
          <p:cNvPr id="27" name="Rectangle 26"/>
          <p:cNvSpPr/>
          <p:nvPr/>
        </p:nvSpPr>
        <p:spPr>
          <a:xfrm>
            <a:off x="11274663" y="0"/>
            <a:ext cx="304721" cy="6096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sp>
        <p:nvSpPr>
          <p:cNvPr id="28" name="Rectangle 27"/>
          <p:cNvSpPr/>
          <p:nvPr/>
        </p:nvSpPr>
        <p:spPr>
          <a:xfrm>
            <a:off x="1218883" y="0"/>
            <a:ext cx="609441" cy="60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sp>
        <p:nvSpPr>
          <p:cNvPr id="29" name="Rectangle 28"/>
          <p:cNvSpPr/>
          <p:nvPr/>
        </p:nvSpPr>
        <p:spPr>
          <a:xfrm>
            <a:off x="-2" y="0"/>
            <a:ext cx="1218883" cy="6096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sp>
        <p:nvSpPr>
          <p:cNvPr id="30" name="Rectangle 29"/>
          <p:cNvSpPr/>
          <p:nvPr/>
        </p:nvSpPr>
        <p:spPr>
          <a:xfrm>
            <a:off x="0" y="0"/>
            <a:ext cx="12188825" cy="609600"/>
          </a:xfrm>
          <a:prstGeom prst="rect">
            <a:avLst/>
          </a:prstGeom>
          <a:solidFill>
            <a:schemeClr val="accent1">
              <a:lumMod val="7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cxnSp>
        <p:nvCxnSpPr>
          <p:cNvPr id="31" name="Straight Connector 30"/>
          <p:cNvCxnSpPr/>
          <p:nvPr/>
        </p:nvCxnSpPr>
        <p:spPr bwMode="white">
          <a:xfrm>
            <a:off x="11573293" y="0"/>
            <a:ext cx="0" cy="6096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0" y="0"/>
            <a:ext cx="1216152" cy="609600"/>
          </a:xfrm>
          <a:prstGeom prst="rect">
            <a:avLst/>
          </a:prstGeom>
          <a:solidFill>
            <a:schemeClr val="accent1">
              <a:lumMod val="50000"/>
              <a:alpha val="7490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cxnSp>
        <p:nvCxnSpPr>
          <p:cNvPr id="33" name="Straight Connector 32"/>
          <p:cNvCxnSpPr/>
          <p:nvPr/>
        </p:nvCxnSpPr>
        <p:spPr bwMode="white">
          <a:xfrm>
            <a:off x="1218884" y="0"/>
            <a:ext cx="0" cy="6096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C6F8EA-316C-41DE-B9A4-EDCC3A85ED9A}" type="datetimeFigureOut">
              <a:rPr lang="en-US"/>
              <a:pPr/>
              <a:t>7/6/2017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1BBB0-96F0-4077-A278-0F3FB5C104D3}" type="slidenum">
              <a:rPr/>
              <a:pPr/>
              <a:t>‹#›</a:t>
            </a:fld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8613" y="1600201"/>
            <a:ext cx="8283272" cy="2654064"/>
          </a:xfrm>
        </p:spPr>
        <p:txBody>
          <a:bodyPr anchor="b">
            <a:normAutofit/>
          </a:bodyPr>
          <a:lstStyle>
            <a:lvl1pPr algn="l">
              <a:defRPr sz="5400" b="0" cap="none" baseline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98613" y="4259996"/>
            <a:ext cx="7264623" cy="1150203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446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93436" y="1600200"/>
            <a:ext cx="4814586" cy="4572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61651" y="1600200"/>
            <a:ext cx="4814586" cy="4572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 baseline="0"/>
            </a:lvl6pPr>
            <a:lvl7pPr>
              <a:defRPr sz="1800" baseline="0"/>
            </a:lvl7pPr>
            <a:lvl8pPr>
              <a:defRPr sz="1800" baseline="0"/>
            </a:lvl8pPr>
            <a:lvl9pPr>
              <a:defRPr sz="18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C6F8EA-316C-41DE-B9A4-EDCC3A85ED9A}" type="datetimeFigureOut">
              <a:rPr lang="en-US"/>
              <a:pPr/>
              <a:t>7/6/2017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1BBB0-96F0-4077-A278-0F3FB5C104D3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39113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93436" y="1499616"/>
            <a:ext cx="4818888" cy="938784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4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93436" y="2514706"/>
            <a:ext cx="4814586" cy="365749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 baseline="0"/>
            </a:lvl8pPr>
            <a:lvl9pPr>
              <a:defRPr sz="16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57349" y="1499616"/>
            <a:ext cx="4818888" cy="938784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400" b="0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57349" y="2514600"/>
            <a:ext cx="4818888" cy="365556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C6F8EA-316C-41DE-B9A4-EDCC3A85ED9A}" type="datetimeFigureOut">
              <a:rPr lang="en-US"/>
              <a:pPr/>
              <a:t>7/6/2017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1BBB0-96F0-4077-A278-0F3FB5C104D3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3835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C6F8EA-316C-41DE-B9A4-EDCC3A85ED9A}" type="datetimeFigureOut">
              <a:rPr lang="en-US"/>
              <a:pPr/>
              <a:t>7/6/2017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1BBB0-96F0-4077-A278-0F3FB5C104D3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63578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26239" y="0"/>
            <a:ext cx="30472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lvl="0" algn="ctr"/>
            <a:endParaRPr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609441" cy="6858000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lvl="0" algn="ctr"/>
            <a:endParaRPr/>
          </a:p>
        </p:txBody>
      </p:sp>
      <p:cxnSp>
        <p:nvCxnSpPr>
          <p:cNvPr id="7" name="Straight Connector 6"/>
          <p:cNvCxnSpPr/>
          <p:nvPr/>
        </p:nvCxnSpPr>
        <p:spPr bwMode="white">
          <a:xfrm>
            <a:off x="617143" y="0"/>
            <a:ext cx="0" cy="6858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10969942" y="0"/>
            <a:ext cx="922621" cy="6858000"/>
          </a:xfrm>
          <a:prstGeom prst="rect">
            <a:avLst/>
          </a:prstGeom>
          <a:solidFill>
            <a:schemeClr val="accent1">
              <a:lumMod val="75000"/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lvl="0" algn="ctr"/>
            <a:endParaRPr/>
          </a:p>
        </p:txBody>
      </p:sp>
      <p:sp>
        <p:nvSpPr>
          <p:cNvPr id="9" name="Rectangle 8"/>
          <p:cNvSpPr/>
          <p:nvPr/>
        </p:nvSpPr>
        <p:spPr>
          <a:xfrm>
            <a:off x="11892563" y="0"/>
            <a:ext cx="304721" cy="6858000"/>
          </a:xfrm>
          <a:prstGeom prst="rect">
            <a:avLst/>
          </a:prstGeom>
          <a:solidFill>
            <a:schemeClr val="accent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lvl="0" algn="ctr"/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C6F8EA-316C-41DE-B9A4-EDCC3A85ED9A}" type="datetimeFigureOut">
              <a:rPr lang="en-US"/>
              <a:pPr/>
              <a:t>7/6/2017</a:t>
            </a:fld>
            <a:endParaRPr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1BBB0-96F0-4077-A278-0F3FB5C104D3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8381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621792" y="0"/>
            <a:ext cx="4147717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lvl="0" algn="ctr"/>
            <a:endParaRPr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609441" cy="6858000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lvl="0" algn="ctr"/>
            <a:endParaRPr/>
          </a:p>
        </p:txBody>
      </p:sp>
      <p:cxnSp>
        <p:nvCxnSpPr>
          <p:cNvPr id="10" name="Straight Connector 9"/>
          <p:cNvCxnSpPr/>
          <p:nvPr/>
        </p:nvCxnSpPr>
        <p:spPr bwMode="white">
          <a:xfrm>
            <a:off x="621792" y="0"/>
            <a:ext cx="0" cy="6858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11884104" y="0"/>
            <a:ext cx="304721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lvl="0"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1074240" y="381000"/>
            <a:ext cx="3293422" cy="1371600"/>
          </a:xfrm>
        </p:spPr>
        <p:txBody>
          <a:bodyPr anchor="b">
            <a:normAutofit/>
          </a:bodyPr>
          <a:lstStyle>
            <a:lvl1pPr algn="l">
              <a:defRPr sz="2800" b="0" cap="all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0251" y="482600"/>
            <a:ext cx="6195986" cy="56896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 baseline="0"/>
            </a:lvl8pPr>
            <a:lvl9pPr>
              <a:defRPr sz="18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white">
          <a:xfrm>
            <a:off x="1074240" y="1828800"/>
            <a:ext cx="3293422" cy="434340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C6F8EA-316C-41DE-B9A4-EDCC3A85ED9A}" type="datetimeFigureOut">
              <a:rPr lang="en-US"/>
              <a:pPr/>
              <a:t>7/6/2017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1BBB0-96F0-4077-A278-0F3FB5C104D3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18043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0"/>
            <a:ext cx="609441" cy="6858000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lvl="0" algn="ctr"/>
            <a:endParaRPr/>
          </a:p>
        </p:txBody>
      </p:sp>
      <p:sp>
        <p:nvSpPr>
          <p:cNvPr id="8" name="Rectangle 7"/>
          <p:cNvSpPr/>
          <p:nvPr/>
        </p:nvSpPr>
        <p:spPr>
          <a:xfrm>
            <a:off x="11884104" y="0"/>
            <a:ext cx="304721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lvl="0" algn="ctr"/>
            <a:endParaRPr/>
          </a:p>
        </p:txBody>
      </p:sp>
      <p:sp>
        <p:nvSpPr>
          <p:cNvPr id="9" name="Rectangle 8"/>
          <p:cNvSpPr/>
          <p:nvPr/>
        </p:nvSpPr>
        <p:spPr>
          <a:xfrm>
            <a:off x="4875530" y="0"/>
            <a:ext cx="7017034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lvl="0"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4240" y="381000"/>
            <a:ext cx="3293422" cy="1371600"/>
          </a:xfrm>
        </p:spPr>
        <p:txBody>
          <a:bodyPr anchor="b">
            <a:normAutofit/>
          </a:bodyPr>
          <a:lstStyle>
            <a:lvl1pPr algn="l">
              <a:defRPr sz="2800" b="0"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5180251" y="482600"/>
            <a:ext cx="6195986" cy="5689600"/>
          </a:xfrm>
          <a:ln w="19050">
            <a:solidFill>
              <a:schemeClr val="bg1"/>
            </a:solidFill>
          </a:ln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4240" y="1828800"/>
            <a:ext cx="3293422" cy="434340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C6F8EA-316C-41DE-B9A4-EDCC3A85ED9A}" type="datetimeFigureOut">
              <a:rPr lang="en-US"/>
              <a:pPr/>
              <a:t>7/6/2017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1BBB0-96F0-4077-A278-0F3FB5C104D3}" type="slidenum">
              <a:rPr/>
              <a:pPr/>
              <a:t>‹#›</a:t>
            </a:fld>
            <a:endParaRPr/>
          </a:p>
        </p:txBody>
      </p:sp>
      <p:cxnSp>
        <p:nvCxnSpPr>
          <p:cNvPr id="10" name="Straight Connector 9"/>
          <p:cNvCxnSpPr/>
          <p:nvPr/>
        </p:nvCxnSpPr>
        <p:spPr bwMode="white">
          <a:xfrm>
            <a:off x="11879867" y="0"/>
            <a:ext cx="0" cy="6858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390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1884104" y="0"/>
            <a:ext cx="304721" cy="6858000"/>
          </a:xfrm>
          <a:prstGeom prst="rect">
            <a:avLst/>
          </a:prstGeom>
          <a:solidFill>
            <a:schemeClr val="accent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lvl="0" algn="ctr"/>
            <a:endParaRPr/>
          </a:p>
        </p:txBody>
      </p:sp>
      <p:sp>
        <p:nvSpPr>
          <p:cNvPr id="8" name="Rectangle 7"/>
          <p:cNvSpPr/>
          <p:nvPr userDrawn="1"/>
        </p:nvSpPr>
        <p:spPr>
          <a:xfrm>
            <a:off x="617143" y="0"/>
            <a:ext cx="60944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609441" cy="6858000"/>
          </a:xfrm>
          <a:prstGeom prst="rect">
            <a:avLst/>
          </a:prstGeom>
          <a:solidFill>
            <a:schemeClr val="accent1">
              <a:lumMod val="75000"/>
              <a:alpha val="878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/>
            <a:endParaRPr/>
          </a:p>
        </p:txBody>
      </p:sp>
      <p:cxnSp>
        <p:nvCxnSpPr>
          <p:cNvPr id="14" name="Straight Connector 13"/>
          <p:cNvCxnSpPr/>
          <p:nvPr/>
        </p:nvCxnSpPr>
        <p:spPr bwMode="white">
          <a:xfrm>
            <a:off x="617143" y="736219"/>
            <a:ext cx="60944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 bwMode="white">
          <a:xfrm>
            <a:off x="617143" y="1345819"/>
            <a:ext cx="609441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i"/>
          <p:cNvSpPr>
            <a:spLocks/>
          </p:cNvSpPr>
          <p:nvPr/>
        </p:nvSpPr>
        <p:spPr bwMode="white">
          <a:xfrm>
            <a:off x="756095" y="898102"/>
            <a:ext cx="336023" cy="294097"/>
          </a:xfrm>
          <a:custGeom>
            <a:avLst/>
            <a:gdLst>
              <a:gd name="T0" fmla="*/ 411 w 426"/>
              <a:gd name="T1" fmla="*/ 0 h 372"/>
              <a:gd name="T2" fmla="*/ 90 w 426"/>
              <a:gd name="T3" fmla="*/ 0 h 372"/>
              <a:gd name="T4" fmla="*/ 3 w 426"/>
              <a:gd name="T5" fmla="*/ 64 h 372"/>
              <a:gd name="T6" fmla="*/ 12 w 426"/>
              <a:gd name="T7" fmla="*/ 83 h 372"/>
              <a:gd name="T8" fmla="*/ 17 w 426"/>
              <a:gd name="T9" fmla="*/ 83 h 372"/>
              <a:gd name="T10" fmla="*/ 31 w 426"/>
              <a:gd name="T11" fmla="*/ 73 h 372"/>
              <a:gd name="T12" fmla="*/ 90 w 426"/>
              <a:gd name="T13" fmla="*/ 30 h 372"/>
              <a:gd name="T14" fmla="*/ 131 w 426"/>
              <a:gd name="T15" fmla="*/ 30 h 372"/>
              <a:gd name="T16" fmla="*/ 61 w 426"/>
              <a:gd name="T17" fmla="*/ 334 h 372"/>
              <a:gd name="T18" fmla="*/ 61 w 426"/>
              <a:gd name="T19" fmla="*/ 355 h 372"/>
              <a:gd name="T20" fmla="*/ 72 w 426"/>
              <a:gd name="T21" fmla="*/ 359 h 372"/>
              <a:gd name="T22" fmla="*/ 83 w 426"/>
              <a:gd name="T23" fmla="*/ 355 h 372"/>
              <a:gd name="T24" fmla="*/ 161 w 426"/>
              <a:gd name="T25" fmla="*/ 30 h 372"/>
              <a:gd name="T26" fmla="*/ 272 w 426"/>
              <a:gd name="T27" fmla="*/ 30 h 372"/>
              <a:gd name="T28" fmla="*/ 253 w 426"/>
              <a:gd name="T29" fmla="*/ 270 h 372"/>
              <a:gd name="T30" fmla="*/ 277 w 426"/>
              <a:gd name="T31" fmla="*/ 355 h 372"/>
              <a:gd name="T32" fmla="*/ 322 w 426"/>
              <a:gd name="T33" fmla="*/ 372 h 372"/>
              <a:gd name="T34" fmla="*/ 335 w 426"/>
              <a:gd name="T35" fmla="*/ 371 h 372"/>
              <a:gd name="T36" fmla="*/ 417 w 426"/>
              <a:gd name="T37" fmla="*/ 280 h 372"/>
              <a:gd name="T38" fmla="*/ 406 w 426"/>
              <a:gd name="T39" fmla="*/ 262 h 372"/>
              <a:gd name="T40" fmla="*/ 388 w 426"/>
              <a:gd name="T41" fmla="*/ 273 h 372"/>
              <a:gd name="T42" fmla="*/ 331 w 426"/>
              <a:gd name="T43" fmla="*/ 341 h 372"/>
              <a:gd name="T44" fmla="*/ 298 w 426"/>
              <a:gd name="T45" fmla="*/ 333 h 372"/>
              <a:gd name="T46" fmla="*/ 283 w 426"/>
              <a:gd name="T47" fmla="*/ 272 h 372"/>
              <a:gd name="T48" fmla="*/ 302 w 426"/>
              <a:gd name="T49" fmla="*/ 30 h 372"/>
              <a:gd name="T50" fmla="*/ 411 w 426"/>
              <a:gd name="T51" fmla="*/ 30 h 372"/>
              <a:gd name="T52" fmla="*/ 426 w 426"/>
              <a:gd name="T53" fmla="*/ 15 h 372"/>
              <a:gd name="T54" fmla="*/ 411 w 426"/>
              <a:gd name="T55" fmla="*/ 0 h 3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426" h="372">
                <a:moveTo>
                  <a:pt x="411" y="0"/>
                </a:moveTo>
                <a:cubicBezTo>
                  <a:pt x="90" y="0"/>
                  <a:pt x="90" y="0"/>
                  <a:pt x="90" y="0"/>
                </a:cubicBezTo>
                <a:cubicBezTo>
                  <a:pt x="25" y="0"/>
                  <a:pt x="4" y="61"/>
                  <a:pt x="3" y="64"/>
                </a:cubicBezTo>
                <a:cubicBezTo>
                  <a:pt x="0" y="71"/>
                  <a:pt x="4" y="80"/>
                  <a:pt x="12" y="83"/>
                </a:cubicBezTo>
                <a:cubicBezTo>
                  <a:pt x="14" y="83"/>
                  <a:pt x="15" y="83"/>
                  <a:pt x="17" y="83"/>
                </a:cubicBezTo>
                <a:cubicBezTo>
                  <a:pt x="23" y="83"/>
                  <a:pt x="29" y="80"/>
                  <a:pt x="31" y="73"/>
                </a:cubicBezTo>
                <a:cubicBezTo>
                  <a:pt x="31" y="73"/>
                  <a:pt x="46" y="30"/>
                  <a:pt x="90" y="30"/>
                </a:cubicBezTo>
                <a:cubicBezTo>
                  <a:pt x="131" y="30"/>
                  <a:pt x="131" y="30"/>
                  <a:pt x="131" y="30"/>
                </a:cubicBezTo>
                <a:cubicBezTo>
                  <a:pt x="129" y="83"/>
                  <a:pt x="118" y="274"/>
                  <a:pt x="61" y="334"/>
                </a:cubicBezTo>
                <a:cubicBezTo>
                  <a:pt x="55" y="340"/>
                  <a:pt x="55" y="350"/>
                  <a:pt x="61" y="355"/>
                </a:cubicBezTo>
                <a:cubicBezTo>
                  <a:pt x="64" y="358"/>
                  <a:pt x="68" y="359"/>
                  <a:pt x="72" y="359"/>
                </a:cubicBezTo>
                <a:cubicBezTo>
                  <a:pt x="76" y="359"/>
                  <a:pt x="80" y="358"/>
                  <a:pt x="83" y="355"/>
                </a:cubicBezTo>
                <a:cubicBezTo>
                  <a:pt x="148" y="286"/>
                  <a:pt x="159" y="84"/>
                  <a:pt x="161" y="30"/>
                </a:cubicBezTo>
                <a:cubicBezTo>
                  <a:pt x="272" y="30"/>
                  <a:pt x="272" y="30"/>
                  <a:pt x="272" y="30"/>
                </a:cubicBezTo>
                <a:cubicBezTo>
                  <a:pt x="253" y="270"/>
                  <a:pt x="253" y="270"/>
                  <a:pt x="253" y="270"/>
                </a:cubicBezTo>
                <a:cubicBezTo>
                  <a:pt x="253" y="272"/>
                  <a:pt x="248" y="327"/>
                  <a:pt x="277" y="355"/>
                </a:cubicBezTo>
                <a:cubicBezTo>
                  <a:pt x="289" y="366"/>
                  <a:pt x="304" y="372"/>
                  <a:pt x="322" y="372"/>
                </a:cubicBezTo>
                <a:cubicBezTo>
                  <a:pt x="326" y="372"/>
                  <a:pt x="330" y="372"/>
                  <a:pt x="335" y="371"/>
                </a:cubicBezTo>
                <a:cubicBezTo>
                  <a:pt x="398" y="362"/>
                  <a:pt x="416" y="283"/>
                  <a:pt x="417" y="280"/>
                </a:cubicBezTo>
                <a:cubicBezTo>
                  <a:pt x="419" y="271"/>
                  <a:pt x="414" y="264"/>
                  <a:pt x="406" y="262"/>
                </a:cubicBezTo>
                <a:cubicBezTo>
                  <a:pt x="398" y="260"/>
                  <a:pt x="390" y="265"/>
                  <a:pt x="388" y="273"/>
                </a:cubicBezTo>
                <a:cubicBezTo>
                  <a:pt x="388" y="274"/>
                  <a:pt x="373" y="335"/>
                  <a:pt x="331" y="341"/>
                </a:cubicBezTo>
                <a:cubicBezTo>
                  <a:pt x="316" y="343"/>
                  <a:pt x="306" y="341"/>
                  <a:pt x="298" y="333"/>
                </a:cubicBezTo>
                <a:cubicBezTo>
                  <a:pt x="282" y="318"/>
                  <a:pt x="282" y="284"/>
                  <a:pt x="283" y="272"/>
                </a:cubicBezTo>
                <a:cubicBezTo>
                  <a:pt x="302" y="30"/>
                  <a:pt x="302" y="30"/>
                  <a:pt x="302" y="30"/>
                </a:cubicBezTo>
                <a:cubicBezTo>
                  <a:pt x="411" y="30"/>
                  <a:pt x="411" y="30"/>
                  <a:pt x="411" y="30"/>
                </a:cubicBezTo>
                <a:cubicBezTo>
                  <a:pt x="419" y="30"/>
                  <a:pt x="426" y="24"/>
                  <a:pt x="426" y="15"/>
                </a:cubicBezTo>
                <a:cubicBezTo>
                  <a:pt x="426" y="7"/>
                  <a:pt x="419" y="0"/>
                  <a:pt x="41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/>
          </a:p>
        </p:txBody>
      </p:sp>
      <p:cxnSp>
        <p:nvCxnSpPr>
          <p:cNvPr id="16" name="Straight Connector 15"/>
          <p:cNvCxnSpPr/>
          <p:nvPr/>
        </p:nvCxnSpPr>
        <p:spPr bwMode="white">
          <a:xfrm>
            <a:off x="617143" y="0"/>
            <a:ext cx="0" cy="6858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93436" y="177800"/>
            <a:ext cx="9782801" cy="123983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93436" y="1600200"/>
            <a:ext cx="9782801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80250" y="6356351"/>
            <a:ext cx="12188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cap="all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C2C6F8EA-316C-41DE-B9A4-EDCC3A85ED9A}" type="datetimeFigureOut">
              <a:rPr lang="en-US"/>
              <a:pPr/>
              <a:t>7/6/2017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5933" y="6356351"/>
            <a:ext cx="39740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cap="all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6796" y="6356351"/>
            <a:ext cx="6094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cap="all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7DC1BBB0-96F0-4077-A278-0F3FB5C104D3}" type="slidenum">
              <a:rPr/>
              <a:pPr/>
              <a:t>‹#›</a:t>
            </a:fld>
            <a:endParaRPr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441" y="736219"/>
            <a:ext cx="617143" cy="60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322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46888" indent="-246888" algn="l" defTabSz="914400" rtl="0" eaLnBrk="1" latinLnBrk="0" hangingPunct="1">
        <a:lnSpc>
          <a:spcPct val="90000"/>
        </a:lnSpc>
        <a:spcBef>
          <a:spcPts val="1400"/>
        </a:spcBef>
        <a:buFont typeface="Euphemia" pitchFamily="34" charset="0"/>
        <a:buChar char="›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12648" indent="-246888" algn="l" defTabSz="914400" rtl="0" eaLnBrk="1" latinLnBrk="0" hangingPunct="1">
        <a:lnSpc>
          <a:spcPct val="90000"/>
        </a:lnSpc>
        <a:spcBef>
          <a:spcPts val="600"/>
        </a:spcBef>
        <a:buFont typeface="Euphemia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78408" indent="-246888" algn="l" defTabSz="914400" rtl="0" eaLnBrk="1" latinLnBrk="0" hangingPunct="1">
        <a:lnSpc>
          <a:spcPct val="90000"/>
        </a:lnSpc>
        <a:spcBef>
          <a:spcPts val="600"/>
        </a:spcBef>
        <a:buFont typeface="Euphemia" pitchFamily="34" charset="0"/>
        <a:buChar char="›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indent="-246888" algn="l" defTabSz="914400" rtl="0" eaLnBrk="1" latinLnBrk="0" hangingPunct="1">
        <a:lnSpc>
          <a:spcPct val="90000"/>
        </a:lnSpc>
        <a:spcBef>
          <a:spcPts val="6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09928" indent="-246888" algn="l" defTabSz="914400" rtl="0" eaLnBrk="1" latinLnBrk="0" hangingPunct="1">
        <a:lnSpc>
          <a:spcPct val="90000"/>
        </a:lnSpc>
        <a:spcBef>
          <a:spcPts val="600"/>
        </a:spcBef>
        <a:buFont typeface="Euphemia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075688" indent="-246888" algn="l" defTabSz="914400" rtl="0" eaLnBrk="1" latinLnBrk="0" hangingPunct="1">
        <a:lnSpc>
          <a:spcPct val="90000"/>
        </a:lnSpc>
        <a:spcBef>
          <a:spcPts val="600"/>
        </a:spcBef>
        <a:buFont typeface="Euphemia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441448" indent="-246888" algn="l" defTabSz="914400" rtl="0" eaLnBrk="1" latinLnBrk="0" hangingPunct="1">
        <a:lnSpc>
          <a:spcPct val="90000"/>
        </a:lnSpc>
        <a:spcBef>
          <a:spcPts val="600"/>
        </a:spcBef>
        <a:buFont typeface="Euphemia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807208" indent="-246888" algn="l" defTabSz="914400" rtl="0" eaLnBrk="1" latinLnBrk="0" hangingPunct="1">
        <a:lnSpc>
          <a:spcPct val="90000"/>
        </a:lnSpc>
        <a:spcBef>
          <a:spcPts val="600"/>
        </a:spcBef>
        <a:buFont typeface="Euphemia" pitchFamily="34" charset="0"/>
        <a:buChar char="–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172968" indent="-246888" algn="l" defTabSz="914400" rtl="0" eaLnBrk="1" latinLnBrk="0" hangingPunct="1">
        <a:lnSpc>
          <a:spcPct val="90000"/>
        </a:lnSpc>
        <a:spcBef>
          <a:spcPts val="600"/>
        </a:spcBef>
        <a:buFont typeface="Euphemia" pitchFamily="34" charset="0"/>
        <a:buChar char="›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79613" y="1600201"/>
            <a:ext cx="9906000" cy="2133600"/>
          </a:xfrm>
        </p:spPr>
        <p:txBody>
          <a:bodyPr/>
          <a:lstStyle/>
          <a:p>
            <a:pPr algn="r"/>
            <a:r>
              <a:rPr lang="en-US" sz="4800" dirty="0" smtClean="0"/>
              <a:t>Bringing Accountability in Health</a:t>
            </a:r>
            <a:r>
              <a:rPr lang="en-US" sz="4000" dirty="0" smtClean="0"/>
              <a:t>      </a:t>
            </a:r>
            <a:r>
              <a:rPr lang="en-US" sz="4000" i="1" dirty="0" smtClean="0"/>
              <a:t>The Madhya Pradesh Experience</a:t>
            </a:r>
            <a:endParaRPr lang="en-US" sz="4000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2612" y="4280327"/>
            <a:ext cx="7516442" cy="1116085"/>
          </a:xfrm>
        </p:spPr>
        <p:txBody>
          <a:bodyPr>
            <a:noAutofit/>
          </a:bodyPr>
          <a:lstStyle/>
          <a:p>
            <a:pPr algn="r"/>
            <a:r>
              <a:rPr lang="en-US" sz="2400" dirty="0" smtClean="0">
                <a:solidFill>
                  <a:srgbClr val="FF0000"/>
                </a:solidFill>
              </a:rPr>
              <a:t>National Health Mission </a:t>
            </a:r>
          </a:p>
          <a:p>
            <a:pPr algn="r"/>
            <a:r>
              <a:rPr lang="en-US" sz="2400" dirty="0" smtClean="0">
                <a:solidFill>
                  <a:srgbClr val="FF0000"/>
                </a:solidFill>
              </a:rPr>
              <a:t>Madhya Pradesh</a:t>
            </a:r>
            <a:endParaRPr lang="en-US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76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IN" dirty="0" smtClean="0"/>
              <a:t>Continuous monitoring and measurement - CHETNA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82883" y="1295400"/>
            <a:ext cx="9540729" cy="534258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E</a:t>
            </a:r>
            <a:r>
              <a:rPr lang="en-US" dirty="0" smtClean="0"/>
              <a:t>nsure </a:t>
            </a:r>
            <a:r>
              <a:rPr lang="en-US" dirty="0"/>
              <a:t>timely visits and adequate performance of Mobile Health Teams </a:t>
            </a:r>
            <a:r>
              <a:rPr lang="en-US" dirty="0" smtClean="0"/>
              <a:t>under RBSK</a:t>
            </a:r>
          </a:p>
          <a:p>
            <a:pPr>
              <a:lnSpc>
                <a:spcPct val="100000"/>
              </a:lnSpc>
            </a:pPr>
            <a:r>
              <a:rPr lang="en-US" dirty="0" smtClean="0"/>
              <a:t>Two-part system</a:t>
            </a:r>
          </a:p>
          <a:p>
            <a:pPr lvl="1">
              <a:lnSpc>
                <a:spcPct val="100000"/>
              </a:lnSpc>
            </a:pPr>
            <a:r>
              <a:rPr lang="en-US" dirty="0" smtClean="0"/>
              <a:t>Mobile APP</a:t>
            </a:r>
          </a:p>
          <a:p>
            <a:pPr lvl="1">
              <a:lnSpc>
                <a:spcPct val="100000"/>
              </a:lnSpc>
            </a:pPr>
            <a:r>
              <a:rPr lang="en-US" dirty="0" smtClean="0"/>
              <a:t>Web based dashboard</a:t>
            </a:r>
          </a:p>
          <a:p>
            <a:pPr>
              <a:lnSpc>
                <a:spcPct val="100000"/>
              </a:lnSpc>
            </a:pPr>
            <a:r>
              <a:rPr lang="en-US" dirty="0" smtClean="0"/>
              <a:t>Over 12 lakh children screened</a:t>
            </a:r>
          </a:p>
          <a:p>
            <a:pPr>
              <a:lnSpc>
                <a:spcPct val="100000"/>
              </a:lnSpc>
            </a:pPr>
            <a:r>
              <a:rPr lang="en-US" dirty="0" smtClean="0"/>
              <a:t>Payment of RBSK teams linked to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dirty="0"/>
              <a:t> </a:t>
            </a:r>
            <a:r>
              <a:rPr lang="en-US" dirty="0" smtClean="0"/>
              <a:t>  work done through CHETNA App</a:t>
            </a:r>
          </a:p>
          <a:p>
            <a:endParaRPr lang="en-IN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3612" y="1752600"/>
            <a:ext cx="4495800" cy="4885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251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 smtClean="0"/>
              <a:t>Quality Improvement at Facility - Supportive Supervision at Field Level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82883" y="1295400"/>
            <a:ext cx="9782801" cy="5562600"/>
          </a:xfrm>
        </p:spPr>
        <p:txBody>
          <a:bodyPr>
            <a:normAutofit lnSpcReduction="10000"/>
          </a:bodyPr>
          <a:lstStyle/>
          <a:p>
            <a:r>
              <a:rPr lang="en-IN" dirty="0" smtClean="0"/>
              <a:t>Nursing Mentors</a:t>
            </a:r>
          </a:p>
          <a:p>
            <a:pPr lvl="1"/>
            <a:r>
              <a:rPr lang="en-IN" dirty="0" smtClean="0"/>
              <a:t>Field level hands on training and supervision by peers</a:t>
            </a:r>
          </a:p>
          <a:p>
            <a:pPr lvl="1"/>
            <a:r>
              <a:rPr lang="en-IN" dirty="0" smtClean="0"/>
              <a:t>124 Nursing Mentors across the state</a:t>
            </a:r>
          </a:p>
          <a:p>
            <a:pPr lvl="1"/>
            <a:r>
              <a:rPr lang="en-IN" dirty="0" smtClean="0"/>
              <a:t>Incentive per facility Visit</a:t>
            </a:r>
          </a:p>
          <a:p>
            <a:pPr lvl="1"/>
            <a:endParaRPr lang="en-IN" dirty="0"/>
          </a:p>
          <a:p>
            <a:pPr lvl="1"/>
            <a:endParaRPr lang="en-IN" dirty="0" smtClean="0"/>
          </a:p>
          <a:p>
            <a:pPr lvl="1"/>
            <a:endParaRPr lang="en-IN" dirty="0"/>
          </a:p>
          <a:p>
            <a:pPr lvl="1"/>
            <a:endParaRPr lang="en-IN" dirty="0" smtClean="0"/>
          </a:p>
          <a:p>
            <a:pPr lvl="1"/>
            <a:endParaRPr lang="en-IN" dirty="0"/>
          </a:p>
          <a:p>
            <a:pPr lvl="1"/>
            <a:endParaRPr lang="en-IN" dirty="0" smtClean="0"/>
          </a:p>
          <a:p>
            <a:pPr lvl="1"/>
            <a:endParaRPr lang="en-IN" dirty="0" smtClean="0"/>
          </a:p>
          <a:p>
            <a:pPr lvl="1"/>
            <a:endParaRPr lang="en-IN" dirty="0"/>
          </a:p>
          <a:p>
            <a:r>
              <a:rPr lang="en-IN" dirty="0" smtClean="0"/>
              <a:t>Continuous monitoring through MPWs</a:t>
            </a:r>
            <a:endParaRPr lang="en-IN" dirty="0"/>
          </a:p>
          <a:p>
            <a:r>
              <a:rPr lang="en-IN" dirty="0" smtClean="0"/>
              <a:t>ANM Mentors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1099" y="2971800"/>
            <a:ext cx="6127474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10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Quality Improvement at Facilities (</a:t>
            </a:r>
            <a:r>
              <a:rPr lang="en-IN" dirty="0" err="1" smtClean="0"/>
              <a:t>contd</a:t>
            </a:r>
            <a:r>
              <a:rPr lang="en-IN" dirty="0" smtClean="0"/>
              <a:t>)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82883" y="1295400"/>
            <a:ext cx="9793354" cy="2133600"/>
          </a:xfrm>
        </p:spPr>
        <p:txBody>
          <a:bodyPr>
            <a:normAutofit/>
          </a:bodyPr>
          <a:lstStyle/>
          <a:p>
            <a:r>
              <a:rPr lang="en-IN" dirty="0" err="1" smtClean="0"/>
              <a:t>Infratructure</a:t>
            </a:r>
            <a:endParaRPr lang="en-IN" dirty="0" smtClean="0"/>
          </a:p>
          <a:p>
            <a:pPr lvl="1"/>
            <a:r>
              <a:rPr lang="en-IN" dirty="0" smtClean="0"/>
              <a:t>Institutionalised Hospital Planning System</a:t>
            </a:r>
          </a:p>
          <a:p>
            <a:r>
              <a:rPr lang="en-IN" dirty="0" smtClean="0"/>
              <a:t>Improvement of Services</a:t>
            </a:r>
          </a:p>
          <a:p>
            <a:pPr marL="0" indent="0">
              <a:buNone/>
            </a:pPr>
            <a:r>
              <a:rPr lang="en-IN" dirty="0" smtClean="0"/>
              <a:t>    </a:t>
            </a:r>
            <a:r>
              <a:rPr lang="en-IN" sz="2400" dirty="0" smtClean="0"/>
              <a:t>1.Proactive Disclosure                                    2. Patient Feedback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5812" y="3530601"/>
            <a:ext cx="4070773" cy="3053080"/>
          </a:xfrm>
          <a:prstGeom prst="rect">
            <a:avLst/>
          </a:prstGeom>
        </p:spPr>
      </p:pic>
      <p:pic>
        <p:nvPicPr>
          <p:cNvPr id="5" name="Picture 2" descr="https://www.nhp.gov.in/images/nhp-app-images/mera-aspataal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3212" y="3429000"/>
            <a:ext cx="3124200" cy="3124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363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8612" y="2667000"/>
            <a:ext cx="9782801" cy="897965"/>
          </a:xfrm>
        </p:spPr>
        <p:txBody>
          <a:bodyPr/>
          <a:lstStyle/>
          <a:p>
            <a:r>
              <a:rPr lang="en-IN" dirty="0" smtClean="0"/>
              <a:t>Financial Accountability – MP </a:t>
            </a:r>
            <a:r>
              <a:rPr lang="en-IN" dirty="0" err="1" smtClean="0"/>
              <a:t>Experinc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4906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4400" dirty="0" smtClean="0"/>
              <a:t>MP-</a:t>
            </a:r>
            <a:r>
              <a:rPr lang="en-IN" sz="4400" dirty="0" err="1" smtClean="0"/>
              <a:t>Aushadhi</a:t>
            </a:r>
            <a:r>
              <a:rPr lang="en-IN" sz="4400" dirty="0" smtClean="0"/>
              <a:t> </a:t>
            </a:r>
            <a:endParaRPr lang="en-IN" sz="4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82883" y="1295400"/>
            <a:ext cx="9782801" cy="5105400"/>
          </a:xfrm>
        </p:spPr>
        <p:txBody>
          <a:bodyPr/>
          <a:lstStyle/>
          <a:p>
            <a:r>
              <a:rPr lang="en-IN" sz="3200" dirty="0" smtClean="0"/>
              <a:t>Fully Automated Purchase to Pay System</a:t>
            </a:r>
          </a:p>
          <a:p>
            <a:r>
              <a:rPr lang="en-IN" sz="3200" dirty="0" smtClean="0"/>
              <a:t>Integrated Quality Control process</a:t>
            </a:r>
          </a:p>
          <a:p>
            <a:r>
              <a:rPr lang="en-IN" sz="3200" dirty="0" smtClean="0"/>
              <a:t>Single Bank account Payment System</a:t>
            </a:r>
          </a:p>
          <a:p>
            <a:r>
              <a:rPr lang="en-IN" sz="3200" dirty="0" smtClean="0"/>
              <a:t>Proactive disclosure of medicine stock at all levels of facility</a:t>
            </a:r>
          </a:p>
          <a:p>
            <a:r>
              <a:rPr lang="en-IN" sz="3200" dirty="0" smtClean="0"/>
              <a:t>Accountability through set timelines and tasks</a:t>
            </a:r>
          </a:p>
          <a:p>
            <a:r>
              <a:rPr lang="en-IN" sz="3200" dirty="0" smtClean="0"/>
              <a:t>Single dashboard view at state level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5917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 smtClean="0"/>
              <a:t>Fixing accountability and timelines through role based pending tasks 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/>
          <a:srcRect t="6838" b="5128"/>
          <a:stretch>
            <a:fillRect/>
          </a:stretch>
        </p:blipFill>
        <p:spPr bwMode="auto">
          <a:xfrm>
            <a:off x="2055812" y="1524000"/>
            <a:ext cx="91440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3914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ublic portal showing drug availability </a:t>
            </a:r>
            <a:r>
              <a:rPr lang="en-US" dirty="0" err="1" smtClean="0"/>
              <a:t>upto</a:t>
            </a:r>
            <a:r>
              <a:rPr lang="en-US" dirty="0" smtClean="0"/>
              <a:t> </a:t>
            </a:r>
            <a:r>
              <a:rPr lang="en-US" dirty="0" smtClean="0"/>
              <a:t>PHC level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/>
          <a:srcRect t="7407" b="4843"/>
          <a:stretch>
            <a:fillRect/>
          </a:stretch>
        </p:blipFill>
        <p:spPr bwMode="auto">
          <a:xfrm>
            <a:off x="1903412" y="1219200"/>
            <a:ext cx="929640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61437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Ageing Analysis </a:t>
            </a:r>
            <a:r>
              <a:rPr lang="en-US" dirty="0" smtClean="0"/>
              <a:t>of Tasks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/>
          <a:srcRect t="6838" b="16809"/>
          <a:stretch>
            <a:fillRect/>
          </a:stretch>
        </p:blipFill>
        <p:spPr bwMode="auto">
          <a:xfrm>
            <a:off x="1751012" y="1447800"/>
            <a:ext cx="93726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36420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012" y="2590800"/>
            <a:ext cx="9782801" cy="897965"/>
          </a:xfrm>
        </p:spPr>
        <p:txBody>
          <a:bodyPr/>
          <a:lstStyle/>
          <a:p>
            <a:r>
              <a:rPr lang="en-IN" dirty="0" smtClean="0"/>
              <a:t>Political Accountability – MP Experienc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4814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GIS Mapping of Facilitie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 smtClean="0"/>
              <a:t>Identification of </a:t>
            </a:r>
          </a:p>
          <a:p>
            <a:pPr lvl="1"/>
            <a:r>
              <a:rPr lang="en-IN" dirty="0"/>
              <a:t>U</a:t>
            </a:r>
            <a:r>
              <a:rPr lang="en-IN" dirty="0" smtClean="0"/>
              <a:t>nderserved areas</a:t>
            </a:r>
          </a:p>
          <a:p>
            <a:pPr lvl="1"/>
            <a:r>
              <a:rPr lang="en-IN" dirty="0" smtClean="0"/>
              <a:t>Potential sites for upgradation</a:t>
            </a:r>
          </a:p>
          <a:p>
            <a:r>
              <a:rPr lang="en-IN" dirty="0" smtClean="0"/>
              <a:t>Mapping areas of concern such as high </a:t>
            </a:r>
            <a:r>
              <a:rPr lang="en-IN" dirty="0"/>
              <a:t>h</a:t>
            </a:r>
            <a:r>
              <a:rPr lang="en-IN" dirty="0" smtClean="0"/>
              <a:t>ome </a:t>
            </a:r>
            <a:r>
              <a:rPr lang="en-IN" dirty="0"/>
              <a:t>d</a:t>
            </a:r>
            <a:r>
              <a:rPr lang="en-IN" dirty="0" smtClean="0"/>
              <a:t>elivery </a:t>
            </a:r>
            <a:r>
              <a:rPr lang="en-IN" dirty="0"/>
              <a:t>l</a:t>
            </a:r>
            <a:r>
              <a:rPr lang="en-IN" dirty="0" smtClean="0"/>
              <a:t>oad</a:t>
            </a:r>
          </a:p>
          <a:p>
            <a:r>
              <a:rPr lang="en-IN" dirty="0" smtClean="0"/>
              <a:t>Addressing concerns of public representatives in a more holistic manner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7770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u="sng" dirty="0" smtClean="0"/>
              <a:t>Contents</a:t>
            </a:r>
            <a:endParaRPr lang="en-US" b="1" u="sng" dirty="0"/>
          </a:p>
        </p:txBody>
      </p:sp>
      <p:sp>
        <p:nvSpPr>
          <p:cNvPr id="14" name="Content Placehold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M Helpline – The Mirror</a:t>
            </a:r>
            <a:endParaRPr lang="en-US" dirty="0" smtClean="0"/>
          </a:p>
          <a:p>
            <a:r>
              <a:rPr lang="en-US" dirty="0" smtClean="0"/>
              <a:t>Accountability in Health</a:t>
            </a:r>
            <a:endParaRPr lang="en-US" dirty="0" smtClean="0"/>
          </a:p>
          <a:p>
            <a:r>
              <a:rPr lang="en-US" dirty="0" smtClean="0"/>
              <a:t>Financial Accountability</a:t>
            </a:r>
            <a:endParaRPr lang="en-US" dirty="0" smtClean="0"/>
          </a:p>
          <a:p>
            <a:r>
              <a:rPr lang="en-US" dirty="0" smtClean="0"/>
              <a:t>Performance Accountability</a:t>
            </a:r>
            <a:endParaRPr lang="en-US" dirty="0" smtClean="0"/>
          </a:p>
          <a:p>
            <a:r>
              <a:rPr lang="en-US" dirty="0" smtClean="0"/>
              <a:t>Political/Democratic Accountability</a:t>
            </a:r>
            <a:endParaRPr lang="en-US" dirty="0" smtClean="0"/>
          </a:p>
          <a:p>
            <a:r>
              <a:rPr lang="en-US" dirty="0" smtClean="0"/>
              <a:t>Way ahea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426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GIS Mapping – High Home Delivery Load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3436" y="1371600"/>
            <a:ext cx="10058400" cy="3934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81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GIS Mapping – Service Area</a:t>
            </a:r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5636" y="1600200"/>
            <a:ext cx="10058400" cy="4317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328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Way Ahead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 smtClean="0"/>
              <a:t>Patient Feedback through </a:t>
            </a:r>
            <a:r>
              <a:rPr lang="en-IN" dirty="0" err="1" smtClean="0"/>
              <a:t>Mera</a:t>
            </a:r>
            <a:r>
              <a:rPr lang="en-IN" dirty="0" smtClean="0"/>
              <a:t> </a:t>
            </a:r>
            <a:r>
              <a:rPr lang="en-IN" dirty="0" err="1" smtClean="0"/>
              <a:t>Aspatal</a:t>
            </a:r>
            <a:endParaRPr lang="en-IN" dirty="0" smtClean="0"/>
          </a:p>
          <a:p>
            <a:r>
              <a:rPr lang="en-IN" dirty="0" smtClean="0"/>
              <a:t>Biometric attendance linked to salary (both regular and contractual)</a:t>
            </a:r>
          </a:p>
          <a:p>
            <a:r>
              <a:rPr lang="en-IN" dirty="0" smtClean="0"/>
              <a:t>Single Account Banking – Full NHM portfolio</a:t>
            </a:r>
          </a:p>
          <a:p>
            <a:r>
              <a:rPr lang="en-IN" dirty="0" smtClean="0"/>
              <a:t>Linking work measurement applications such as CHETNA with HRMIS</a:t>
            </a:r>
          </a:p>
          <a:p>
            <a:r>
              <a:rPr lang="en-IN" dirty="0" smtClean="0"/>
              <a:t>Enhancing proactive disclosure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51049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4812" y="2514600"/>
            <a:ext cx="9782801" cy="897965"/>
          </a:xfrm>
        </p:spPr>
        <p:txBody>
          <a:bodyPr/>
          <a:lstStyle/>
          <a:p>
            <a:pPr algn="ctr"/>
            <a:r>
              <a:rPr lang="en-IN" sz="5400" b="1" dirty="0" smtClean="0"/>
              <a:t>Thank you</a:t>
            </a:r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2205947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3436" y="168835"/>
            <a:ext cx="9782801" cy="593165"/>
          </a:xfrm>
        </p:spPr>
        <p:txBody>
          <a:bodyPr>
            <a:noAutofit/>
          </a:bodyPr>
          <a:lstStyle/>
          <a:p>
            <a:r>
              <a:rPr lang="en-IN" sz="3000" dirty="0" smtClean="0"/>
              <a:t>CM Helpline – A single window for grievance redressal</a:t>
            </a:r>
            <a:endParaRPr lang="en-IN" sz="3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22328" y="914400"/>
            <a:ext cx="9782801" cy="114300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IN" dirty="0" smtClean="0"/>
              <a:t>Number of calls related to health servic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IN" dirty="0" smtClean="0"/>
              <a:t>2015-16 : 35,668                                  2016-17 </a:t>
            </a:r>
            <a:r>
              <a:rPr lang="en-IN" dirty="0"/>
              <a:t>: </a:t>
            </a:r>
            <a:r>
              <a:rPr lang="en-IN" dirty="0" smtClean="0"/>
              <a:t>59,638</a:t>
            </a:r>
            <a:endParaRPr lang="en-IN" dirty="0"/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3740447091"/>
              </p:ext>
            </p:extLst>
          </p:nvPr>
        </p:nvGraphicFramePr>
        <p:xfrm>
          <a:off x="1903412" y="1828800"/>
          <a:ext cx="9472825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7725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Accountability in Public Health Service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82883" y="1295400"/>
            <a:ext cx="10150329" cy="4495800"/>
          </a:xfrm>
        </p:spPr>
        <p:txBody>
          <a:bodyPr>
            <a:normAutofit/>
          </a:bodyPr>
          <a:lstStyle/>
          <a:p>
            <a:r>
              <a:rPr lang="en-IN" dirty="0" smtClean="0"/>
              <a:t>Essence of Accountability is Answerability*</a:t>
            </a:r>
          </a:p>
          <a:p>
            <a:pPr lvl="1"/>
            <a:r>
              <a:rPr lang="en-IN" dirty="0" smtClean="0"/>
              <a:t>Obligation to answer questions regarding actions/decisions</a:t>
            </a:r>
          </a:p>
          <a:p>
            <a:pPr lvl="1"/>
            <a:r>
              <a:rPr lang="en-IN" dirty="0" smtClean="0"/>
              <a:t>Transparency in decisions</a:t>
            </a:r>
          </a:p>
          <a:p>
            <a:r>
              <a:rPr lang="en-IN" dirty="0" smtClean="0"/>
              <a:t>Performance Accountability</a:t>
            </a:r>
          </a:p>
          <a:p>
            <a:pPr lvl="1"/>
            <a:r>
              <a:rPr lang="en-IN" dirty="0" smtClean="0"/>
              <a:t>Performance Measurement</a:t>
            </a:r>
          </a:p>
          <a:p>
            <a:pPr lvl="1"/>
            <a:r>
              <a:rPr lang="en-IN" dirty="0" smtClean="0"/>
              <a:t>Service Delivery</a:t>
            </a:r>
          </a:p>
          <a:p>
            <a:r>
              <a:rPr lang="en-IN" dirty="0" smtClean="0"/>
              <a:t>Financial Accountability</a:t>
            </a:r>
          </a:p>
          <a:p>
            <a:pPr lvl="1"/>
            <a:endParaRPr lang="en-IN" dirty="0" smtClean="0"/>
          </a:p>
          <a:p>
            <a:r>
              <a:rPr lang="en-IN" dirty="0" smtClean="0"/>
              <a:t>Political/Democratic Accountability</a:t>
            </a:r>
            <a:endParaRPr lang="en-IN" dirty="0"/>
          </a:p>
          <a:p>
            <a:endParaRPr lang="en-IN" dirty="0"/>
          </a:p>
        </p:txBody>
      </p:sp>
      <p:sp>
        <p:nvSpPr>
          <p:cNvPr id="4" name="TextBox 3"/>
          <p:cNvSpPr txBox="1"/>
          <p:nvPr/>
        </p:nvSpPr>
        <p:spPr>
          <a:xfrm>
            <a:off x="1593436" y="6477000"/>
            <a:ext cx="11816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 dirty="0" smtClean="0"/>
              <a:t>*Accountability and Health Systems: </a:t>
            </a:r>
            <a:r>
              <a:rPr lang="en-IN" sz="1200" b="1" dirty="0" err="1" smtClean="0"/>
              <a:t>Overview,Framework</a:t>
            </a:r>
            <a:r>
              <a:rPr lang="en-IN" sz="1200" b="1" dirty="0"/>
              <a:t>, </a:t>
            </a:r>
            <a:r>
              <a:rPr lang="en-IN" sz="1200" b="1" dirty="0" smtClean="0"/>
              <a:t>and Strategies</a:t>
            </a:r>
            <a:r>
              <a:rPr lang="en-IN" sz="1200" b="1" dirty="0"/>
              <a:t>, Jan 2003, WHO: http://www.who.int/management/partnerships/accountability/AccountabilityHealthSystemsOverview.pdf</a:t>
            </a:r>
            <a:endParaRPr lang="en-IN" sz="1200" dirty="0"/>
          </a:p>
        </p:txBody>
      </p:sp>
    </p:spTree>
    <p:extLst>
      <p:ext uri="{BB962C8B-B14F-4D97-AF65-F5344CB8AC3E}">
        <p14:creationId xmlns:p14="http://schemas.microsoft.com/office/powerpoint/2010/main" val="1167858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4812" y="2590800"/>
            <a:ext cx="9782801" cy="897965"/>
          </a:xfrm>
        </p:spPr>
        <p:txBody>
          <a:bodyPr/>
          <a:lstStyle/>
          <a:p>
            <a:r>
              <a:rPr lang="en-IN" dirty="0" smtClean="0"/>
              <a:t>Performance Accountability – MP Experienc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1411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-1" y="-75287"/>
            <a:ext cx="12188825" cy="790367"/>
          </a:xfrm>
          <a:prstGeom prst="rect">
            <a:avLst/>
          </a:prstGeom>
          <a:solidFill>
            <a:srgbClr val="003366"/>
          </a:solidFill>
        </p:spPr>
        <p:txBody>
          <a:bodyPr vert="horz" lIns="182832" tIns="45708" rIns="0" bIns="45708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bg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en-IN" sz="2000" dirty="0">
                <a:latin typeface="+mn-lt"/>
                <a:ea typeface="Calibri" charset="0"/>
                <a:cs typeface="Calibri" charset="0"/>
              </a:rPr>
              <a:t>Focussed approach  of backtracking with </a:t>
            </a:r>
            <a:r>
              <a:rPr lang="en-IN" sz="2000" dirty="0">
                <a:latin typeface="+mn-lt"/>
                <a:ea typeface="Calibri" charset="0"/>
                <a:cs typeface="Calibri" charset="0"/>
              </a:rPr>
              <a:t>rigorous capacity building exercise for </a:t>
            </a:r>
            <a:r>
              <a:rPr lang="en-IN" sz="2000" dirty="0">
                <a:latin typeface="+mn-lt"/>
                <a:ea typeface="Calibri" charset="0"/>
                <a:cs typeface="Calibri" charset="0"/>
              </a:rPr>
              <a:t>ANMs</a:t>
            </a:r>
            <a:endParaRPr lang="en-IN" sz="2000" dirty="0">
              <a:latin typeface="+mn-lt"/>
              <a:ea typeface="Calibri" charset="0"/>
              <a:cs typeface="Calibri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678304" y="1126014"/>
            <a:ext cx="899160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IN" sz="2800" dirty="0" smtClean="0"/>
              <a:t>Identification of poor performing ANMs</a:t>
            </a:r>
          </a:p>
          <a:p>
            <a:pPr marL="342900" indent="-342900">
              <a:buAutoNum type="arabicPeriod"/>
            </a:pPr>
            <a:r>
              <a:rPr lang="en-IN" sz="2800" dirty="0" smtClean="0"/>
              <a:t>Capacity Building </a:t>
            </a:r>
          </a:p>
          <a:p>
            <a:endParaRPr lang="en-IN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508429420"/>
              </p:ext>
            </p:extLst>
          </p:nvPr>
        </p:nvGraphicFramePr>
        <p:xfrm>
          <a:off x="1674812" y="2357120"/>
          <a:ext cx="9906000" cy="449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61267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ct 5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248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248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>
          <a:xfrm>
            <a:off x="1196207" y="1448316"/>
            <a:ext cx="5974459" cy="52752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7" bIns="89977" rtlCol="0" anchor="ctr" anchorCtr="0"/>
          <a:lstStyle/>
          <a:p>
            <a:pPr algn="ctr"/>
            <a:endParaRPr lang="en-IN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7389474" y="1448316"/>
            <a:ext cx="4500978" cy="51040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7" bIns="89977" rtlCol="0" anchor="ctr" anchorCtr="0"/>
          <a:lstStyle/>
          <a:p>
            <a:pPr algn="ctr"/>
            <a:endParaRPr lang="en-IN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-1" y="-75287"/>
            <a:ext cx="12188825" cy="790367"/>
          </a:xfrm>
          <a:prstGeom prst="rect">
            <a:avLst/>
          </a:prstGeom>
          <a:solidFill>
            <a:srgbClr val="003366"/>
          </a:solidFill>
        </p:spPr>
        <p:txBody>
          <a:bodyPr vert="horz" lIns="182832" tIns="45708" rIns="0" bIns="45708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bg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en-IN" sz="1999" dirty="0">
                <a:latin typeface="Calibri" pitchFamily="34" charset="0"/>
                <a:ea typeface="Calibri" charset="0"/>
                <a:cs typeface="Calibri" charset="0"/>
              </a:rPr>
              <a:t>Results : Key  gaps identified and  addressed including action on poor performing ANMs  </a:t>
            </a:r>
            <a:endParaRPr lang="en-IN" sz="1999" dirty="0">
              <a:latin typeface="Calibri" pitchFamily="34" charset="0"/>
              <a:ea typeface="Calibri" charset="0"/>
              <a:cs typeface="Calibri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389230" y="2228697"/>
            <a:ext cx="1758085" cy="590862"/>
          </a:xfrm>
          <a:prstGeom prst="rect">
            <a:avLst/>
          </a:prstGeom>
          <a:solidFill>
            <a:srgbClr val="DCE6F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7" bIns="89977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Ante Natal Check ups (ANCs</a:t>
            </a:r>
            <a:r>
              <a:rPr lang="en-US" sz="1200" b="1" dirty="0">
                <a:solidFill>
                  <a:schemeClr val="tx1"/>
                </a:solidFill>
              </a:rPr>
              <a:t>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389229" y="2948606"/>
            <a:ext cx="1758085" cy="590862"/>
          </a:xfrm>
          <a:prstGeom prst="rect">
            <a:avLst/>
          </a:prstGeom>
          <a:solidFill>
            <a:srgbClr val="DCE6F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7" bIns="89977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Data </a:t>
            </a:r>
            <a:r>
              <a:rPr lang="en-US" sz="1200" b="1" dirty="0">
                <a:solidFill>
                  <a:schemeClr val="tx1"/>
                </a:solidFill>
              </a:rPr>
              <a:t>Capturing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389229" y="3704920"/>
            <a:ext cx="1758085" cy="590862"/>
          </a:xfrm>
          <a:prstGeom prst="rect">
            <a:avLst/>
          </a:prstGeom>
          <a:solidFill>
            <a:srgbClr val="DCE6F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7" bIns="89977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ack of </a:t>
            </a:r>
            <a:r>
              <a:rPr lang="en-US" sz="1200" b="1" dirty="0">
                <a:solidFill>
                  <a:schemeClr val="tx1"/>
                </a:solidFill>
              </a:rPr>
              <a:t>Supervisio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389229" y="4468016"/>
            <a:ext cx="1758085" cy="590862"/>
          </a:xfrm>
          <a:prstGeom prst="rect">
            <a:avLst/>
          </a:prstGeom>
          <a:solidFill>
            <a:srgbClr val="DCE6F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7" bIns="89977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ack of </a:t>
            </a:r>
            <a:r>
              <a:rPr lang="en-US" sz="1200" b="1" dirty="0">
                <a:solidFill>
                  <a:schemeClr val="tx1"/>
                </a:solidFill>
              </a:rPr>
              <a:t>Examination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387641" y="5292245"/>
            <a:ext cx="1758085" cy="590862"/>
          </a:xfrm>
          <a:prstGeom prst="rect">
            <a:avLst/>
          </a:prstGeom>
          <a:solidFill>
            <a:srgbClr val="DCE6F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7" bIns="89977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ack of </a:t>
            </a:r>
            <a:r>
              <a:rPr lang="en-US" sz="1200" b="1" dirty="0">
                <a:solidFill>
                  <a:schemeClr val="tx1"/>
                </a:solidFill>
              </a:rPr>
              <a:t>Investigatio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387641" y="6055341"/>
            <a:ext cx="1758085" cy="590862"/>
          </a:xfrm>
          <a:prstGeom prst="rect">
            <a:avLst/>
          </a:prstGeom>
          <a:solidFill>
            <a:srgbClr val="DCE6F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77" bIns="89977" rtlCol="0" anchor="ctr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Lack of </a:t>
            </a:r>
            <a:r>
              <a:rPr lang="en-US" sz="1200" b="1" dirty="0">
                <a:solidFill>
                  <a:schemeClr val="tx1"/>
                </a:solidFill>
              </a:rPr>
              <a:t>Treatment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202345" y="1495461"/>
            <a:ext cx="4128675" cy="397098"/>
          </a:xfrm>
          <a:prstGeom prst="rect">
            <a:avLst/>
          </a:prstGeom>
          <a:solidFill>
            <a:srgbClr val="1F497D"/>
          </a:solidFill>
        </p:spPr>
        <p:txBody>
          <a:bodyPr wrap="square" tIns="89977" bIns="89977" rtlCol="0" anchor="t">
            <a:spAutoFit/>
          </a:bodyPr>
          <a:lstStyle/>
          <a:p>
            <a:pPr algn="ctr"/>
            <a:r>
              <a:rPr lang="en-IN" sz="1400" b="1" dirty="0">
                <a:solidFill>
                  <a:schemeClr val="bg1"/>
                </a:solidFill>
                <a:cs typeface="Arial" pitchFamily="34" charset="0"/>
              </a:rPr>
              <a:t>Key Gaps </a:t>
            </a:r>
            <a:r>
              <a:rPr lang="en-IN" sz="1400" b="1" dirty="0">
                <a:solidFill>
                  <a:schemeClr val="bg1"/>
                </a:solidFill>
                <a:cs typeface="Arial" pitchFamily="34" charset="0"/>
              </a:rPr>
              <a:t>Identified</a:t>
            </a:r>
            <a:endParaRPr lang="en-IN" sz="1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022601" y="762695"/>
            <a:ext cx="4128675" cy="397098"/>
          </a:xfrm>
          <a:prstGeom prst="rect">
            <a:avLst/>
          </a:prstGeom>
          <a:solidFill>
            <a:srgbClr val="1F497D"/>
          </a:solidFill>
        </p:spPr>
        <p:txBody>
          <a:bodyPr wrap="square" tIns="89977" bIns="89977" rtlCol="0" anchor="t">
            <a:spAutoFit/>
          </a:bodyPr>
          <a:lstStyle/>
          <a:p>
            <a:pPr algn="ctr"/>
            <a:r>
              <a:rPr lang="en-IN" sz="1400" b="1" dirty="0">
                <a:solidFill>
                  <a:schemeClr val="bg1"/>
                </a:solidFill>
                <a:cs typeface="Arial" pitchFamily="34" charset="0"/>
              </a:rPr>
              <a:t>Result of Backtracking </a:t>
            </a:r>
            <a:endParaRPr lang="en-IN" sz="1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525251" y="1432119"/>
            <a:ext cx="2985972" cy="397098"/>
          </a:xfrm>
          <a:prstGeom prst="rect">
            <a:avLst/>
          </a:prstGeom>
          <a:solidFill>
            <a:srgbClr val="1F497D"/>
          </a:solidFill>
        </p:spPr>
        <p:txBody>
          <a:bodyPr wrap="square" tIns="89977" bIns="89977" rtlCol="0" anchor="t">
            <a:spAutoFit/>
          </a:bodyPr>
          <a:lstStyle/>
          <a:p>
            <a:pPr algn="ctr"/>
            <a:r>
              <a:rPr lang="en-IN" sz="1400" b="1" dirty="0">
                <a:solidFill>
                  <a:schemeClr val="bg1"/>
                </a:solidFill>
                <a:cs typeface="Arial" pitchFamily="34" charset="0"/>
              </a:rPr>
              <a:t>Capacity building  on core skills </a:t>
            </a:r>
            <a:endParaRPr lang="en-IN" sz="1400" b="1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25" name="Elbow Connector 24"/>
          <p:cNvCxnSpPr>
            <a:stCxn id="26" idx="2"/>
            <a:endCxn id="22" idx="0"/>
          </p:cNvCxnSpPr>
          <p:nvPr/>
        </p:nvCxnSpPr>
        <p:spPr>
          <a:xfrm rot="5400000">
            <a:off x="4508977" y="-82501"/>
            <a:ext cx="335668" cy="2820256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/>
          <p:nvPr/>
        </p:nvCxnSpPr>
        <p:spPr>
          <a:xfrm>
            <a:off x="6018232" y="1295956"/>
            <a:ext cx="3778391" cy="136164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7922736" y="3596629"/>
            <a:ext cx="3885188" cy="550946"/>
          </a:xfrm>
          <a:prstGeom prst="rect">
            <a:avLst/>
          </a:prstGeom>
          <a:solidFill>
            <a:srgbClr val="DCE6F2"/>
          </a:solidFill>
        </p:spPr>
        <p:txBody>
          <a:bodyPr wrap="square" tIns="89977" bIns="89977" rtlCol="0" anchor="t">
            <a:spAutoFit/>
          </a:bodyPr>
          <a:lstStyle/>
          <a:p>
            <a:pPr algn="ctr"/>
            <a:r>
              <a:rPr lang="en-US" sz="1200" b="1" dirty="0"/>
              <a:t># of Cases Back tracked:</a:t>
            </a:r>
            <a:r>
              <a:rPr lang="en-US" sz="1200" dirty="0"/>
              <a:t> </a:t>
            </a:r>
            <a:r>
              <a:rPr lang="en-US" sz="1200" dirty="0"/>
              <a:t>216 (200 ANMs) </a:t>
            </a:r>
            <a:r>
              <a:rPr lang="en-US" sz="1200" dirty="0"/>
              <a:t>from 20 </a:t>
            </a:r>
            <a:r>
              <a:rPr lang="en-US" sz="1200" dirty="0"/>
              <a:t>districts</a:t>
            </a:r>
            <a:endParaRPr lang="en-US" sz="1200" dirty="0"/>
          </a:p>
        </p:txBody>
      </p:sp>
      <p:sp>
        <p:nvSpPr>
          <p:cNvPr id="35" name="TextBox 34"/>
          <p:cNvSpPr txBox="1"/>
          <p:nvPr/>
        </p:nvSpPr>
        <p:spPr>
          <a:xfrm>
            <a:off x="7998916" y="4800243"/>
            <a:ext cx="1130006" cy="1104800"/>
          </a:xfrm>
          <a:prstGeom prst="rect">
            <a:avLst/>
          </a:prstGeom>
          <a:solidFill>
            <a:srgbClr val="DCE6F2"/>
          </a:solidFill>
        </p:spPr>
        <p:txBody>
          <a:bodyPr wrap="square" tIns="89977" bIns="89977" rtlCol="0" anchor="t">
            <a:spAutoFit/>
          </a:bodyPr>
          <a:lstStyle/>
          <a:p>
            <a:pPr algn="ctr"/>
            <a:r>
              <a:rPr lang="en-US" sz="1200" b="1" dirty="0"/>
              <a:t># of Cases where show cause </a:t>
            </a:r>
            <a:r>
              <a:rPr lang="en-US" sz="1200" b="1" dirty="0"/>
              <a:t>issued</a:t>
            </a:r>
          </a:p>
          <a:p>
            <a:pPr algn="ctr"/>
            <a:r>
              <a:rPr lang="en-US" sz="1200" b="1" dirty="0"/>
              <a:t> 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9509360" y="4647883"/>
            <a:ext cx="1130006" cy="1104800"/>
          </a:xfrm>
          <a:prstGeom prst="rect">
            <a:avLst/>
          </a:prstGeom>
          <a:solidFill>
            <a:srgbClr val="DCE6F2"/>
          </a:solidFill>
        </p:spPr>
        <p:txBody>
          <a:bodyPr wrap="square" tIns="89977" bIns="89977" rtlCol="0" anchor="t">
            <a:spAutoFit/>
          </a:bodyPr>
          <a:lstStyle/>
          <a:p>
            <a:pPr algn="ctr"/>
            <a:r>
              <a:rPr lang="en-US" sz="1200" b="1" dirty="0"/>
              <a:t># of Cases where increment </a:t>
            </a:r>
            <a:r>
              <a:rPr lang="en-US" sz="1200" b="1" dirty="0"/>
              <a:t>withheld after SCN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0817583" y="4800243"/>
            <a:ext cx="1066522" cy="1104800"/>
          </a:xfrm>
          <a:prstGeom prst="rect">
            <a:avLst/>
          </a:prstGeom>
          <a:solidFill>
            <a:srgbClr val="DCE6F2"/>
          </a:solidFill>
        </p:spPr>
        <p:txBody>
          <a:bodyPr wrap="square" tIns="89977" bIns="89977" rtlCol="0" anchor="t">
            <a:spAutoFit/>
          </a:bodyPr>
          <a:lstStyle/>
          <a:p>
            <a:pPr algn="ctr"/>
            <a:r>
              <a:rPr lang="en-US" sz="1200" b="1" dirty="0"/>
              <a:t># of Cases where service terminated: </a:t>
            </a:r>
            <a:endParaRPr lang="en-US" sz="1200" b="1" dirty="0"/>
          </a:p>
          <a:p>
            <a:pPr algn="ctr"/>
            <a:endParaRPr lang="en-US" sz="12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8303636" y="5770788"/>
            <a:ext cx="837982" cy="4000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999" b="1" dirty="0">
                <a:solidFill>
                  <a:schemeClr val="tx2"/>
                </a:solidFill>
              </a:rPr>
              <a:t>89</a:t>
            </a:r>
            <a:endParaRPr lang="en-IN" sz="1999" b="1" dirty="0">
              <a:solidFill>
                <a:schemeClr val="tx2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9763294" y="5770788"/>
            <a:ext cx="825747" cy="4000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999" b="1" dirty="0">
                <a:solidFill>
                  <a:schemeClr val="tx2"/>
                </a:solidFill>
              </a:rPr>
              <a:t>74</a:t>
            </a:r>
            <a:endParaRPr lang="en-IN" sz="1999" b="1" dirty="0">
              <a:solidFill>
                <a:schemeClr val="tx2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1363078" y="5748150"/>
            <a:ext cx="825747" cy="4000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999" b="1" dirty="0">
                <a:solidFill>
                  <a:schemeClr val="tx2"/>
                </a:solidFill>
              </a:rPr>
              <a:t>4</a:t>
            </a:r>
            <a:endParaRPr lang="en-IN" sz="1999" b="1" dirty="0">
              <a:solidFill>
                <a:schemeClr val="tx2"/>
              </a:solidFill>
            </a:endParaRPr>
          </a:p>
        </p:txBody>
      </p:sp>
      <p:cxnSp>
        <p:nvCxnSpPr>
          <p:cNvPr id="41" name="Elbow Connector 40"/>
          <p:cNvCxnSpPr>
            <a:stCxn id="34" idx="2"/>
            <a:endCxn id="37" idx="0"/>
          </p:cNvCxnSpPr>
          <p:nvPr/>
        </p:nvCxnSpPr>
        <p:spPr>
          <a:xfrm rot="16200000" flipH="1">
            <a:off x="10281752" y="3731152"/>
            <a:ext cx="652668" cy="1485514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/>
          <p:nvPr/>
        </p:nvCxnSpPr>
        <p:spPr>
          <a:xfrm rot="16200000" flipH="1">
            <a:off x="9513114" y="4276387"/>
            <a:ext cx="913466" cy="132853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Elbow Connector 49"/>
          <p:cNvCxnSpPr>
            <a:stCxn id="34" idx="2"/>
            <a:endCxn id="35" idx="0"/>
          </p:cNvCxnSpPr>
          <p:nvPr/>
        </p:nvCxnSpPr>
        <p:spPr>
          <a:xfrm rot="5400000">
            <a:off x="8888290" y="3823203"/>
            <a:ext cx="652668" cy="1301411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Picture 2" descr="https://centurybizsolutions.net/wp-content/uploads/2015/10/credit-card-processing-risk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1561" y="1432121"/>
            <a:ext cx="436045" cy="436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6" name="Straight Connector 95"/>
          <p:cNvCxnSpPr/>
          <p:nvPr/>
        </p:nvCxnSpPr>
        <p:spPr>
          <a:xfrm>
            <a:off x="9979600" y="1905397"/>
            <a:ext cx="0" cy="2285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 101"/>
          <p:cNvSpPr/>
          <p:nvPr/>
        </p:nvSpPr>
        <p:spPr>
          <a:xfrm flipH="1">
            <a:off x="8151276" y="2438658"/>
            <a:ext cx="1142702" cy="6856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Training needs analysis </a:t>
            </a: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07" name="Elbow Connector 106"/>
          <p:cNvCxnSpPr/>
          <p:nvPr/>
        </p:nvCxnSpPr>
        <p:spPr>
          <a:xfrm>
            <a:off x="9522519" y="2210117"/>
            <a:ext cx="914162" cy="380901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/>
          <p:nvPr/>
        </p:nvCxnSpPr>
        <p:spPr>
          <a:xfrm flipH="1">
            <a:off x="8684537" y="2210118"/>
            <a:ext cx="114270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>
            <a:off x="8760717" y="2362478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/>
          <p:cNvSpPr/>
          <p:nvPr/>
        </p:nvSpPr>
        <p:spPr>
          <a:xfrm>
            <a:off x="9370159" y="2438658"/>
            <a:ext cx="1447423" cy="7618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Intensive raining on ANC &amp; HBNC :</a:t>
            </a:r>
          </a:p>
          <a:p>
            <a:pPr algn="ctr"/>
            <a:r>
              <a:rPr lang="en-US" sz="1200" dirty="0"/>
              <a:t>Examination and Investigations</a:t>
            </a:r>
            <a:endParaRPr lang="en-US" sz="1200" dirty="0"/>
          </a:p>
        </p:txBody>
      </p:sp>
      <p:cxnSp>
        <p:nvCxnSpPr>
          <p:cNvPr id="121" name="Straight Connector 120"/>
          <p:cNvCxnSpPr/>
          <p:nvPr/>
        </p:nvCxnSpPr>
        <p:spPr>
          <a:xfrm>
            <a:off x="11046122" y="2210117"/>
            <a:ext cx="0" cy="3047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121"/>
          <p:cNvSpPr/>
          <p:nvPr/>
        </p:nvSpPr>
        <p:spPr>
          <a:xfrm>
            <a:off x="10893762" y="2438658"/>
            <a:ext cx="914162" cy="6094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ost training  evaluation</a:t>
            </a:r>
            <a:endParaRPr lang="en-US" sz="1200" dirty="0"/>
          </a:p>
        </p:txBody>
      </p:sp>
      <p:cxnSp>
        <p:nvCxnSpPr>
          <p:cNvPr id="140" name="Straight Arrow Connector 139"/>
          <p:cNvCxnSpPr/>
          <p:nvPr/>
        </p:nvCxnSpPr>
        <p:spPr>
          <a:xfrm>
            <a:off x="9979600" y="2210118"/>
            <a:ext cx="1066522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8760717" y="2286297"/>
            <a:ext cx="0" cy="3047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0571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Performance Accountability – Larger Pictur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 smtClean="0"/>
              <a:t>Benchmarking Performance Levels</a:t>
            </a:r>
          </a:p>
          <a:p>
            <a:pPr lvl="1"/>
            <a:r>
              <a:rPr lang="en-IN" dirty="0" smtClean="0"/>
              <a:t>Work Done</a:t>
            </a:r>
          </a:p>
          <a:p>
            <a:pPr lvl="1"/>
            <a:r>
              <a:rPr lang="en-IN" dirty="0" smtClean="0"/>
              <a:t>Skill</a:t>
            </a:r>
          </a:p>
          <a:p>
            <a:r>
              <a:rPr lang="en-IN" dirty="0" smtClean="0"/>
              <a:t>Measurable targets</a:t>
            </a:r>
          </a:p>
          <a:p>
            <a:r>
              <a:rPr lang="en-IN" dirty="0" smtClean="0"/>
              <a:t>Supportive Supervision for improving performance</a:t>
            </a:r>
          </a:p>
          <a:p>
            <a:r>
              <a:rPr lang="en-IN" dirty="0" smtClean="0"/>
              <a:t>Transparent evaluation mechanisms</a:t>
            </a:r>
          </a:p>
          <a:p>
            <a:r>
              <a:rPr lang="en-IN" dirty="0" smtClean="0"/>
              <a:t>Using IT systems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0218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NHM MP – HRMIS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 smtClean="0"/>
              <a:t>Complete end to end solution for HR management</a:t>
            </a:r>
          </a:p>
          <a:p>
            <a:r>
              <a:rPr lang="en-IN" dirty="0" smtClean="0"/>
              <a:t>Responsibility Matrix (KRA) for each position shared in advance</a:t>
            </a:r>
          </a:p>
          <a:p>
            <a:r>
              <a:rPr lang="en-IN" dirty="0" smtClean="0"/>
              <a:t>Online Appraisals for Work done and Skill levels</a:t>
            </a:r>
          </a:p>
          <a:p>
            <a:r>
              <a:rPr lang="en-IN" dirty="0" smtClean="0"/>
              <a:t>Online Contract Renewal and Incentive Calculation based on performance</a:t>
            </a:r>
          </a:p>
          <a:p>
            <a:r>
              <a:rPr lang="en-IN" dirty="0" smtClean="0"/>
              <a:t>Tracking each NHM employee’s performance and training need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3709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th 16x9">
  <a:themeElements>
    <a:clrScheme name="Math_16x9">
      <a:dk1>
        <a:srgbClr val="465562"/>
      </a:dk1>
      <a:lt1>
        <a:srgbClr val="FFFFFF"/>
      </a:lt1>
      <a:dk2>
        <a:srgbClr val="000000"/>
      </a:dk2>
      <a:lt2>
        <a:srgbClr val="F2ECE2"/>
      </a:lt2>
      <a:accent1>
        <a:srgbClr val="9BAAB7"/>
      </a:accent1>
      <a:accent2>
        <a:srgbClr val="B8D082"/>
      </a:accent2>
      <a:accent3>
        <a:srgbClr val="EFDB85"/>
      </a:accent3>
      <a:accent4>
        <a:srgbClr val="E8A565"/>
      </a:accent4>
      <a:accent5>
        <a:srgbClr val="BC9AAE"/>
      </a:accent5>
      <a:accent6>
        <a:srgbClr val="BABABA"/>
      </a:accent6>
      <a:hlink>
        <a:srgbClr val="8FC48C"/>
      </a:hlink>
      <a:folHlink>
        <a:srgbClr val="969696"/>
      </a:folHlink>
    </a:clrScheme>
    <a:fontScheme name="Euphemia">
      <a:majorFont>
        <a:latin typeface="Euphemia"/>
        <a:ea typeface=""/>
        <a:cs typeface=""/>
      </a:majorFont>
      <a:minorFont>
        <a:latin typeface="Euphem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Math_16x9">
      <a:dk1>
        <a:srgbClr val="465562"/>
      </a:dk1>
      <a:lt1>
        <a:srgbClr val="FFFFFF"/>
      </a:lt1>
      <a:dk2>
        <a:srgbClr val="000000"/>
      </a:dk2>
      <a:lt2>
        <a:srgbClr val="F2ECE2"/>
      </a:lt2>
      <a:accent1>
        <a:srgbClr val="9BAAB7"/>
      </a:accent1>
      <a:accent2>
        <a:srgbClr val="B8D082"/>
      </a:accent2>
      <a:accent3>
        <a:srgbClr val="EFDB85"/>
      </a:accent3>
      <a:accent4>
        <a:srgbClr val="E8A565"/>
      </a:accent4>
      <a:accent5>
        <a:srgbClr val="BC9AAE"/>
      </a:accent5>
      <a:accent6>
        <a:srgbClr val="BABABA"/>
      </a:accent6>
      <a:hlink>
        <a:srgbClr val="8FC48C"/>
      </a:hlink>
      <a:folHlink>
        <a:srgbClr val="A97C96"/>
      </a:folHlink>
    </a:clrScheme>
    <a:fontScheme name="Euphemia">
      <a:majorFont>
        <a:latin typeface="Euphemia"/>
        <a:ea typeface=""/>
        <a:cs typeface=""/>
      </a:majorFont>
      <a:minorFont>
        <a:latin typeface="Euphem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Math_16x9">
      <a:dk1>
        <a:srgbClr val="465562"/>
      </a:dk1>
      <a:lt1>
        <a:srgbClr val="FFFFFF"/>
      </a:lt1>
      <a:dk2>
        <a:srgbClr val="000000"/>
      </a:dk2>
      <a:lt2>
        <a:srgbClr val="F2ECE2"/>
      </a:lt2>
      <a:accent1>
        <a:srgbClr val="9BAAB7"/>
      </a:accent1>
      <a:accent2>
        <a:srgbClr val="B8D082"/>
      </a:accent2>
      <a:accent3>
        <a:srgbClr val="EFDB85"/>
      </a:accent3>
      <a:accent4>
        <a:srgbClr val="E8A565"/>
      </a:accent4>
      <a:accent5>
        <a:srgbClr val="BC9AAE"/>
      </a:accent5>
      <a:accent6>
        <a:srgbClr val="BABABA"/>
      </a:accent6>
      <a:hlink>
        <a:srgbClr val="8FC48C"/>
      </a:hlink>
      <a:folHlink>
        <a:srgbClr val="A97C96"/>
      </a:folHlink>
    </a:clrScheme>
    <a:fontScheme name="Euphemia">
      <a:majorFont>
        <a:latin typeface="Euphemia"/>
        <a:ea typeface=""/>
        <a:cs typeface=""/>
      </a:majorFont>
      <a:minorFont>
        <a:latin typeface="Euphem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8</TotalTime>
  <Words>601</Words>
  <Application>Microsoft Office PowerPoint</Application>
  <PresentationFormat>Custom</PresentationFormat>
  <Paragraphs>139</Paragraphs>
  <Slides>2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Arial</vt:lpstr>
      <vt:lpstr>Calibri</vt:lpstr>
      <vt:lpstr>Euphemia</vt:lpstr>
      <vt:lpstr>Wingdings</vt:lpstr>
      <vt:lpstr>Math 16x9</vt:lpstr>
      <vt:lpstr>think-cell Slide</vt:lpstr>
      <vt:lpstr>Bringing Accountability in Health      The Madhya Pradesh Experience</vt:lpstr>
      <vt:lpstr>Contents</vt:lpstr>
      <vt:lpstr>CM Helpline – A single window for grievance redressal</vt:lpstr>
      <vt:lpstr>Accountability in Public Health Services</vt:lpstr>
      <vt:lpstr>Performance Accountability – MP Experience</vt:lpstr>
      <vt:lpstr>PowerPoint Presentation</vt:lpstr>
      <vt:lpstr>PowerPoint Presentation</vt:lpstr>
      <vt:lpstr>Performance Accountability – Larger Picture</vt:lpstr>
      <vt:lpstr>NHM MP – HRMIS</vt:lpstr>
      <vt:lpstr>Continuous monitoring and measurement - CHETNA</vt:lpstr>
      <vt:lpstr>Quality Improvement at Facility - Supportive Supervision at Field Level</vt:lpstr>
      <vt:lpstr>Quality Improvement at Facilities (contd)</vt:lpstr>
      <vt:lpstr>Financial Accountability – MP Experince</vt:lpstr>
      <vt:lpstr>MP-Aushadhi </vt:lpstr>
      <vt:lpstr>Fixing accountability and timelines through role based pending tasks </vt:lpstr>
      <vt:lpstr>Public portal showing drug availability upto PHC level</vt:lpstr>
      <vt:lpstr>Ageing Analysis of Tasks</vt:lpstr>
      <vt:lpstr>Political Accountability – MP Experience</vt:lpstr>
      <vt:lpstr>GIS Mapping of Facilities</vt:lpstr>
      <vt:lpstr>GIS Mapping – High Home Delivery Load</vt:lpstr>
      <vt:lpstr>GIS Mapping – Service Area</vt:lpstr>
      <vt:lpstr>Way Ahead</vt:lpstr>
      <vt:lpstr>Thank you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Layout</dc:title>
  <dc:creator>Acer1</dc:creator>
  <cp:lastModifiedBy>ACER</cp:lastModifiedBy>
  <cp:revision>44</cp:revision>
  <dcterms:created xsi:type="dcterms:W3CDTF">2014-04-17T22:14:21Z</dcterms:created>
  <dcterms:modified xsi:type="dcterms:W3CDTF">2017-07-06T02:20:10Z</dcterms:modified>
</cp:coreProperties>
</file>